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6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7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4" r:id="rId1"/>
  </p:sldMasterIdLst>
  <p:notesMasterIdLst>
    <p:notesMasterId r:id="rId11"/>
  </p:notesMasterIdLst>
  <p:handoutMasterIdLst>
    <p:handoutMasterId r:id="rId12"/>
  </p:handoutMasterIdLst>
  <p:sldIdLst>
    <p:sldId id="532" r:id="rId2"/>
    <p:sldId id="533" r:id="rId3"/>
    <p:sldId id="534" r:id="rId4"/>
    <p:sldId id="435" r:id="rId5"/>
    <p:sldId id="495" r:id="rId6"/>
    <p:sldId id="496" r:id="rId7"/>
    <p:sldId id="497" r:id="rId8"/>
    <p:sldId id="449" r:id="rId9"/>
    <p:sldId id="499" r:id="rId10"/>
  </p:sldIdLst>
  <p:sldSz cx="12188825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see, Joseph" initials="LJ" lastIdx="6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6699"/>
    <a:srgbClr val="6699FF"/>
    <a:srgbClr val="B9B9B9"/>
    <a:srgbClr val="00668A"/>
    <a:srgbClr val="3F3F3F"/>
    <a:srgbClr val="0070C0"/>
    <a:srgbClr val="FFFFFF"/>
    <a:srgbClr val="0D0D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951" autoAdjust="0"/>
    <p:restoredTop sz="80249" autoAdjust="0"/>
  </p:normalViewPr>
  <p:slideViewPr>
    <p:cSldViewPr>
      <p:cViewPr varScale="1">
        <p:scale>
          <a:sx n="72" d="100"/>
          <a:sy n="72" d="100"/>
        </p:scale>
        <p:origin x="336" y="58"/>
      </p:cViewPr>
      <p:guideLst>
        <p:guide orient="horz" pos="2160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-19454"/>
    </p:cViewPr>
  </p:sorterViewPr>
  <p:notesViewPr>
    <p:cSldViewPr>
      <p:cViewPr varScale="1">
        <p:scale>
          <a:sx n="66" d="100"/>
          <a:sy n="66" d="100"/>
        </p:scale>
        <p:origin x="3043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BA0D8E-884F-D545-BFF7-95207C181DAB}" type="doc">
      <dgm:prSet loTypeId="urn:microsoft.com/office/officeart/2005/8/layout/vList5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CF0461F7-EC97-BB41-A574-9C1E3009EACC}">
      <dgm:prSet/>
      <dgm:spPr/>
      <dgm:t>
        <a:bodyPr/>
        <a:lstStyle/>
        <a:p>
          <a:pPr rtl="0"/>
          <a:r>
            <a:rPr lang="en-CA" dirty="0" smtClean="0"/>
            <a:t>In this Chapter</a:t>
          </a:r>
        </a:p>
      </dgm:t>
    </dgm:pt>
    <dgm:pt modelId="{B2C709E6-0566-4D4E-97EA-2EBE699D701F}" type="parTrans" cxnId="{674D6C8A-30E6-564D-9142-120BB4D947A9}">
      <dgm:prSet/>
      <dgm:spPr/>
      <dgm:t>
        <a:bodyPr/>
        <a:lstStyle/>
        <a:p>
          <a:endParaRPr lang="en-CA"/>
        </a:p>
      </dgm:t>
    </dgm:pt>
    <dgm:pt modelId="{ABC1C475-5434-1B41-BC48-ADC728C8CBF7}" type="sibTrans" cxnId="{674D6C8A-30E6-564D-9142-120BB4D947A9}">
      <dgm:prSet/>
      <dgm:spPr/>
      <dgm:t>
        <a:bodyPr/>
        <a:lstStyle/>
        <a:p>
          <a:endParaRPr lang="en-CA"/>
        </a:p>
      </dgm:t>
    </dgm:pt>
    <dgm:pt modelId="{98F67694-0BAD-4EA6-9C61-873CF2826E85}">
      <dgm:prSet/>
      <dgm:spPr/>
      <dgm:t>
        <a:bodyPr/>
        <a:lstStyle/>
        <a:p>
          <a:pPr rtl="0"/>
          <a:r>
            <a:rPr lang="en-CA" dirty="0" smtClean="0"/>
            <a:t>T1 and  dependants</a:t>
          </a:r>
          <a:endParaRPr lang="en-CA" dirty="0"/>
        </a:p>
      </dgm:t>
    </dgm:pt>
    <dgm:pt modelId="{DD0C60F8-EA9F-4910-99A6-33A1D1C67178}" type="parTrans" cxnId="{CEE62FF6-3383-4B80-872B-7C9EC927D3B6}">
      <dgm:prSet/>
      <dgm:spPr/>
      <dgm:t>
        <a:bodyPr/>
        <a:lstStyle/>
        <a:p>
          <a:endParaRPr lang="en-US"/>
        </a:p>
      </dgm:t>
    </dgm:pt>
    <dgm:pt modelId="{CC885E32-725D-43A9-88B3-EDBE2AAE1F86}" type="sibTrans" cxnId="{CEE62FF6-3383-4B80-872B-7C9EC927D3B6}">
      <dgm:prSet/>
      <dgm:spPr/>
      <dgm:t>
        <a:bodyPr/>
        <a:lstStyle/>
        <a:p>
          <a:endParaRPr lang="en-US"/>
        </a:p>
      </dgm:t>
    </dgm:pt>
    <dgm:pt modelId="{12182436-8CD8-4832-9F71-D0917FDEB3D0}">
      <dgm:prSet/>
      <dgm:spPr/>
      <dgm:t>
        <a:bodyPr/>
        <a:lstStyle/>
        <a:p>
          <a:pPr rtl="0"/>
          <a:r>
            <a:rPr lang="en-CA" dirty="0" smtClean="0"/>
            <a:t>Optimization</a:t>
          </a:r>
          <a:endParaRPr lang="en-CA" dirty="0"/>
        </a:p>
      </dgm:t>
    </dgm:pt>
    <dgm:pt modelId="{FDB9703C-7C6E-4478-85ED-D31B2D5311B5}" type="parTrans" cxnId="{225F66C4-A991-43E0-9B9C-B602424F88D4}">
      <dgm:prSet/>
      <dgm:spPr/>
      <dgm:t>
        <a:bodyPr/>
        <a:lstStyle/>
        <a:p>
          <a:endParaRPr lang="en-US"/>
        </a:p>
      </dgm:t>
    </dgm:pt>
    <dgm:pt modelId="{FEC0E547-E09B-4D36-8A38-AC2DA0604A08}" type="sibTrans" cxnId="{225F66C4-A991-43E0-9B9C-B602424F88D4}">
      <dgm:prSet/>
      <dgm:spPr/>
      <dgm:t>
        <a:bodyPr/>
        <a:lstStyle/>
        <a:p>
          <a:endParaRPr lang="en-US"/>
        </a:p>
      </dgm:t>
    </dgm:pt>
    <dgm:pt modelId="{70D6520E-2D83-7642-8813-A0947D86170A}">
      <dgm:prSet/>
      <dgm:spPr/>
      <dgm:t>
        <a:bodyPr/>
        <a:lstStyle/>
        <a:p>
          <a:pPr rtl="0"/>
          <a:r>
            <a:rPr lang="en-CA" dirty="0" smtClean="0"/>
            <a:t>A T1 for the self-employed</a:t>
          </a:r>
          <a:endParaRPr lang="en-CA" dirty="0"/>
        </a:p>
      </dgm:t>
    </dgm:pt>
    <dgm:pt modelId="{F9578D9A-9E8B-CC42-B5F6-BA0B770F8FA0}" type="parTrans" cxnId="{25E8D224-A22C-CB4D-BD24-6961FCEFB3A0}">
      <dgm:prSet/>
      <dgm:spPr/>
      <dgm:t>
        <a:bodyPr/>
        <a:lstStyle/>
        <a:p>
          <a:endParaRPr lang="en-CA"/>
        </a:p>
      </dgm:t>
    </dgm:pt>
    <dgm:pt modelId="{1AC033CC-ACEF-1A4F-868F-B5ACB3BC2819}" type="sibTrans" cxnId="{25E8D224-A22C-CB4D-BD24-6961FCEFB3A0}">
      <dgm:prSet/>
      <dgm:spPr/>
      <dgm:t>
        <a:bodyPr/>
        <a:lstStyle/>
        <a:p>
          <a:endParaRPr lang="en-CA"/>
        </a:p>
      </dgm:t>
    </dgm:pt>
    <dgm:pt modelId="{5325FF06-BE85-6742-9495-B8F42BFC9B7F}" type="pres">
      <dgm:prSet presAssocID="{02BA0D8E-884F-D545-BFF7-95207C181DA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29217676-BC9A-6F40-9378-16D87FA052B5}" type="pres">
      <dgm:prSet presAssocID="{CF0461F7-EC97-BB41-A574-9C1E3009EACC}" presName="linNode" presStyleCnt="0"/>
      <dgm:spPr/>
    </dgm:pt>
    <dgm:pt modelId="{43DEFE45-1517-3942-920E-48C520E9C0B4}" type="pres">
      <dgm:prSet presAssocID="{CF0461F7-EC97-BB41-A574-9C1E3009EACC}" presName="parentText" presStyleLbl="node1" presStyleIdx="0" presStyleCnt="1" custScaleX="214487">
        <dgm:presLayoutVars>
          <dgm:chMax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96B25C73-5C82-454A-AF23-58BAC3E61242}" type="pres">
      <dgm:prSet presAssocID="{CF0461F7-EC97-BB41-A574-9C1E3009EACC}" presName="descendantText" presStyleLbl="align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</dgm:ptLst>
  <dgm:cxnLst>
    <dgm:cxn modelId="{41B8F1B6-425C-7040-9450-1B864D828345}" type="presOf" srcId="{CF0461F7-EC97-BB41-A574-9C1E3009EACC}" destId="{43DEFE45-1517-3942-920E-48C520E9C0B4}" srcOrd="0" destOrd="0" presId="urn:microsoft.com/office/officeart/2005/8/layout/vList5"/>
    <dgm:cxn modelId="{90CF27D1-9436-CA49-BEF5-E1ECB6C64A16}" type="presOf" srcId="{12182436-8CD8-4832-9F71-D0917FDEB3D0}" destId="{96B25C73-5C82-454A-AF23-58BAC3E61242}" srcOrd="0" destOrd="1" presId="urn:microsoft.com/office/officeart/2005/8/layout/vList5"/>
    <dgm:cxn modelId="{EC8A03D1-5A39-7D45-A241-EAC9C645D1A9}" type="presOf" srcId="{98F67694-0BAD-4EA6-9C61-873CF2826E85}" destId="{96B25C73-5C82-454A-AF23-58BAC3E61242}" srcOrd="0" destOrd="0" presId="urn:microsoft.com/office/officeart/2005/8/layout/vList5"/>
    <dgm:cxn modelId="{225F66C4-A991-43E0-9B9C-B602424F88D4}" srcId="{CF0461F7-EC97-BB41-A574-9C1E3009EACC}" destId="{12182436-8CD8-4832-9F71-D0917FDEB3D0}" srcOrd="1" destOrd="0" parTransId="{FDB9703C-7C6E-4478-85ED-D31B2D5311B5}" sibTransId="{FEC0E547-E09B-4D36-8A38-AC2DA0604A08}"/>
    <dgm:cxn modelId="{674D6C8A-30E6-564D-9142-120BB4D947A9}" srcId="{02BA0D8E-884F-D545-BFF7-95207C181DAB}" destId="{CF0461F7-EC97-BB41-A574-9C1E3009EACC}" srcOrd="0" destOrd="0" parTransId="{B2C709E6-0566-4D4E-97EA-2EBE699D701F}" sibTransId="{ABC1C475-5434-1B41-BC48-ADC728C8CBF7}"/>
    <dgm:cxn modelId="{25E8D224-A22C-CB4D-BD24-6961FCEFB3A0}" srcId="{CF0461F7-EC97-BB41-A574-9C1E3009EACC}" destId="{70D6520E-2D83-7642-8813-A0947D86170A}" srcOrd="2" destOrd="0" parTransId="{F9578D9A-9E8B-CC42-B5F6-BA0B770F8FA0}" sibTransId="{1AC033CC-ACEF-1A4F-868F-B5ACB3BC2819}"/>
    <dgm:cxn modelId="{CEE62FF6-3383-4B80-872B-7C9EC927D3B6}" srcId="{CF0461F7-EC97-BB41-A574-9C1E3009EACC}" destId="{98F67694-0BAD-4EA6-9C61-873CF2826E85}" srcOrd="0" destOrd="0" parTransId="{DD0C60F8-EA9F-4910-99A6-33A1D1C67178}" sibTransId="{CC885E32-725D-43A9-88B3-EDBE2AAE1F86}"/>
    <dgm:cxn modelId="{EA26DFAF-B91B-7846-9D36-C9B3D215BA11}" type="presOf" srcId="{70D6520E-2D83-7642-8813-A0947D86170A}" destId="{96B25C73-5C82-454A-AF23-58BAC3E61242}" srcOrd="0" destOrd="2" presId="urn:microsoft.com/office/officeart/2005/8/layout/vList5"/>
    <dgm:cxn modelId="{830457EA-4830-6849-B056-5DAFA7AC888A}" type="presOf" srcId="{02BA0D8E-884F-D545-BFF7-95207C181DAB}" destId="{5325FF06-BE85-6742-9495-B8F42BFC9B7F}" srcOrd="0" destOrd="0" presId="urn:microsoft.com/office/officeart/2005/8/layout/vList5"/>
    <dgm:cxn modelId="{46A73CC5-0EF0-6340-A556-B24ADCB32365}" type="presParOf" srcId="{5325FF06-BE85-6742-9495-B8F42BFC9B7F}" destId="{29217676-BC9A-6F40-9378-16D87FA052B5}" srcOrd="0" destOrd="0" presId="urn:microsoft.com/office/officeart/2005/8/layout/vList5"/>
    <dgm:cxn modelId="{B8669F64-ECB9-7D4E-995B-7019B7F00E65}" type="presParOf" srcId="{29217676-BC9A-6F40-9378-16D87FA052B5}" destId="{43DEFE45-1517-3942-920E-48C520E9C0B4}" srcOrd="0" destOrd="0" presId="urn:microsoft.com/office/officeart/2005/8/layout/vList5"/>
    <dgm:cxn modelId="{32A867F6-4053-5945-A3E6-75F18724319B}" type="presParOf" srcId="{29217676-BC9A-6F40-9378-16D87FA052B5}" destId="{96B25C73-5C82-454A-AF23-58BAC3E61242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2BA0D8E-884F-D545-BFF7-95207C181DAB}" type="doc">
      <dgm:prSet loTypeId="urn:microsoft.com/office/officeart/2005/8/layout/vList5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E15282A0-97C8-214B-8F13-5C3D9F494625}">
      <dgm:prSet/>
      <dgm:spPr/>
      <dgm:t>
        <a:bodyPr/>
        <a:lstStyle/>
        <a:p>
          <a:pPr rtl="0"/>
          <a:r>
            <a:rPr lang="en-CA" dirty="0"/>
            <a:t>Part-year residents</a:t>
          </a:r>
        </a:p>
      </dgm:t>
    </dgm:pt>
    <dgm:pt modelId="{BA02AD92-5D10-1A42-9AE6-EC337DB75B02}" type="parTrans" cxnId="{F5120F8F-DB12-224A-9619-18E7931B4453}">
      <dgm:prSet/>
      <dgm:spPr/>
      <dgm:t>
        <a:bodyPr/>
        <a:lstStyle/>
        <a:p>
          <a:endParaRPr lang="en-US"/>
        </a:p>
      </dgm:t>
    </dgm:pt>
    <dgm:pt modelId="{B5EB1C69-2E79-4D4F-8BAE-137DF3E41A38}" type="sibTrans" cxnId="{F5120F8F-DB12-224A-9619-18E7931B4453}">
      <dgm:prSet/>
      <dgm:spPr/>
      <dgm:t>
        <a:bodyPr/>
        <a:lstStyle/>
        <a:p>
          <a:endParaRPr lang="en-US"/>
        </a:p>
      </dgm:t>
    </dgm:pt>
    <dgm:pt modelId="{56FD74BF-F2D5-4BAF-917F-EE8C92B19290}">
      <dgm:prSet/>
      <dgm:spPr/>
      <dgm:t>
        <a:bodyPr/>
        <a:lstStyle/>
        <a:p>
          <a:pPr rtl="0"/>
          <a:r>
            <a:rPr lang="en-CA" dirty="0"/>
            <a:t>date of entry</a:t>
          </a:r>
        </a:p>
      </dgm:t>
    </dgm:pt>
    <dgm:pt modelId="{E05134B7-036F-4123-B939-835CC4B2F690}" type="parTrans" cxnId="{78B004A7-6EE4-4F11-BA9A-0CE0B3ABB9B8}">
      <dgm:prSet/>
      <dgm:spPr/>
      <dgm:t>
        <a:bodyPr/>
        <a:lstStyle/>
        <a:p>
          <a:endParaRPr lang="en-CA"/>
        </a:p>
      </dgm:t>
    </dgm:pt>
    <dgm:pt modelId="{408E7608-C1BE-461B-945B-8ED576104B46}" type="sibTrans" cxnId="{78B004A7-6EE4-4F11-BA9A-0CE0B3ABB9B8}">
      <dgm:prSet/>
      <dgm:spPr/>
      <dgm:t>
        <a:bodyPr/>
        <a:lstStyle/>
        <a:p>
          <a:endParaRPr lang="en-CA"/>
        </a:p>
      </dgm:t>
    </dgm:pt>
    <dgm:pt modelId="{71C83C54-360B-4BF1-A56A-FD92EA05D4A0}">
      <dgm:prSet/>
      <dgm:spPr/>
      <dgm:t>
        <a:bodyPr/>
        <a:lstStyle/>
        <a:p>
          <a:pPr rtl="0"/>
          <a:r>
            <a:rPr lang="en-CA" dirty="0" err="1"/>
            <a:t>Cdn</a:t>
          </a:r>
          <a:r>
            <a:rPr lang="en-CA" dirty="0"/>
            <a:t> non-res income</a:t>
          </a:r>
        </a:p>
      </dgm:t>
    </dgm:pt>
    <dgm:pt modelId="{859F54C8-EBD3-40D6-8883-C5669F5CB011}" type="parTrans" cxnId="{02622A74-C294-40F8-B192-72EDFB2EC2B6}">
      <dgm:prSet/>
      <dgm:spPr/>
      <dgm:t>
        <a:bodyPr/>
        <a:lstStyle/>
        <a:p>
          <a:endParaRPr lang="en-CA"/>
        </a:p>
      </dgm:t>
    </dgm:pt>
    <dgm:pt modelId="{AB9BAFC2-114F-43E9-9EFC-F6095034875B}" type="sibTrans" cxnId="{02622A74-C294-40F8-B192-72EDFB2EC2B6}">
      <dgm:prSet/>
      <dgm:spPr/>
      <dgm:t>
        <a:bodyPr/>
        <a:lstStyle/>
        <a:p>
          <a:endParaRPr lang="en-CA"/>
        </a:p>
      </dgm:t>
    </dgm:pt>
    <dgm:pt modelId="{39459CB6-8DF8-4A16-85F7-D37BCBCA4290}">
      <dgm:prSet/>
      <dgm:spPr/>
      <dgm:t>
        <a:bodyPr/>
        <a:lstStyle/>
        <a:p>
          <a:pPr rtl="0"/>
          <a:endParaRPr lang="en-CA" dirty="0"/>
        </a:p>
      </dgm:t>
    </dgm:pt>
    <dgm:pt modelId="{88D1569F-395D-4161-B692-44FA7676A2A2}" type="parTrans" cxnId="{927390C0-C24D-4992-A8AB-085883DC7B10}">
      <dgm:prSet/>
      <dgm:spPr/>
      <dgm:t>
        <a:bodyPr/>
        <a:lstStyle/>
        <a:p>
          <a:endParaRPr lang="en-CA"/>
        </a:p>
      </dgm:t>
    </dgm:pt>
    <dgm:pt modelId="{8433FCEA-B386-4456-899D-77EB9B3BFB2C}" type="sibTrans" cxnId="{927390C0-C24D-4992-A8AB-085883DC7B10}">
      <dgm:prSet/>
      <dgm:spPr/>
      <dgm:t>
        <a:bodyPr/>
        <a:lstStyle/>
        <a:p>
          <a:endParaRPr lang="en-CA"/>
        </a:p>
      </dgm:t>
    </dgm:pt>
    <dgm:pt modelId="{39725E07-239D-4F59-ABAC-501128F8C653}">
      <dgm:prSet/>
      <dgm:spPr/>
      <dgm:t>
        <a:bodyPr/>
        <a:lstStyle/>
        <a:p>
          <a:pPr rtl="0"/>
          <a:r>
            <a:rPr lang="en-CA" dirty="0"/>
            <a:t>Foreign non-res income</a:t>
          </a:r>
        </a:p>
      </dgm:t>
    </dgm:pt>
    <dgm:pt modelId="{14C2C21E-1467-429A-8DDD-5182907135C8}" type="parTrans" cxnId="{2BD1FBFA-F6A7-464B-8659-216D553CDFA7}">
      <dgm:prSet/>
      <dgm:spPr/>
      <dgm:t>
        <a:bodyPr/>
        <a:lstStyle/>
        <a:p>
          <a:endParaRPr lang="en-CA"/>
        </a:p>
      </dgm:t>
    </dgm:pt>
    <dgm:pt modelId="{95DD5E8D-F78F-48CE-91C9-CF0B21468B0D}" type="sibTrans" cxnId="{2BD1FBFA-F6A7-464B-8659-216D553CDFA7}">
      <dgm:prSet/>
      <dgm:spPr/>
      <dgm:t>
        <a:bodyPr/>
        <a:lstStyle/>
        <a:p>
          <a:endParaRPr lang="en-CA"/>
        </a:p>
      </dgm:t>
    </dgm:pt>
    <dgm:pt modelId="{5325FF06-BE85-6742-9495-B8F42BFC9B7F}" type="pres">
      <dgm:prSet presAssocID="{02BA0D8E-884F-D545-BFF7-95207C181DA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7BAD8ECD-59ED-9B4F-8899-D532BFF1F82A}" type="pres">
      <dgm:prSet presAssocID="{E15282A0-97C8-214B-8F13-5C3D9F494625}" presName="linNode" presStyleCnt="0"/>
      <dgm:spPr/>
    </dgm:pt>
    <dgm:pt modelId="{0C2E6E5A-794E-724B-A389-111AC14C96EB}" type="pres">
      <dgm:prSet presAssocID="{E15282A0-97C8-214B-8F13-5C3D9F494625}" presName="parentText" presStyleLbl="node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41EF5177-79D9-456D-92A5-5568A201F435}" type="pres">
      <dgm:prSet presAssocID="{E15282A0-97C8-214B-8F13-5C3D9F494625}" presName="descendantText" presStyleLbl="align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</dgm:ptLst>
  <dgm:cxnLst>
    <dgm:cxn modelId="{2BD1FBFA-F6A7-464B-8659-216D553CDFA7}" srcId="{E15282A0-97C8-214B-8F13-5C3D9F494625}" destId="{39725E07-239D-4F59-ABAC-501128F8C653}" srcOrd="2" destOrd="0" parTransId="{14C2C21E-1467-429A-8DDD-5182907135C8}" sibTransId="{95DD5E8D-F78F-48CE-91C9-CF0B21468B0D}"/>
    <dgm:cxn modelId="{31B5ED9A-6C93-5C45-B61A-208257722489}" type="presOf" srcId="{71C83C54-360B-4BF1-A56A-FD92EA05D4A0}" destId="{41EF5177-79D9-456D-92A5-5568A201F435}" srcOrd="0" destOrd="1" presId="urn:microsoft.com/office/officeart/2005/8/layout/vList5"/>
    <dgm:cxn modelId="{6A53B435-C31A-D645-AB6C-494E1A886324}" type="presOf" srcId="{39725E07-239D-4F59-ABAC-501128F8C653}" destId="{41EF5177-79D9-456D-92A5-5568A201F435}" srcOrd="0" destOrd="2" presId="urn:microsoft.com/office/officeart/2005/8/layout/vList5"/>
    <dgm:cxn modelId="{CE1D673F-1728-BB43-B29B-10D1400F1A83}" type="presOf" srcId="{39459CB6-8DF8-4A16-85F7-D37BCBCA4290}" destId="{41EF5177-79D9-456D-92A5-5568A201F435}" srcOrd="0" destOrd="3" presId="urn:microsoft.com/office/officeart/2005/8/layout/vList5"/>
    <dgm:cxn modelId="{78B004A7-6EE4-4F11-BA9A-0CE0B3ABB9B8}" srcId="{E15282A0-97C8-214B-8F13-5C3D9F494625}" destId="{56FD74BF-F2D5-4BAF-917F-EE8C92B19290}" srcOrd="0" destOrd="0" parTransId="{E05134B7-036F-4123-B939-835CC4B2F690}" sibTransId="{408E7608-C1BE-461B-945B-8ED576104B46}"/>
    <dgm:cxn modelId="{927390C0-C24D-4992-A8AB-085883DC7B10}" srcId="{E15282A0-97C8-214B-8F13-5C3D9F494625}" destId="{39459CB6-8DF8-4A16-85F7-D37BCBCA4290}" srcOrd="3" destOrd="0" parTransId="{88D1569F-395D-4161-B692-44FA7676A2A2}" sibTransId="{8433FCEA-B386-4456-899D-77EB9B3BFB2C}"/>
    <dgm:cxn modelId="{02622A74-C294-40F8-B192-72EDFB2EC2B6}" srcId="{E15282A0-97C8-214B-8F13-5C3D9F494625}" destId="{71C83C54-360B-4BF1-A56A-FD92EA05D4A0}" srcOrd="1" destOrd="0" parTransId="{859F54C8-EBD3-40D6-8883-C5669F5CB011}" sibTransId="{AB9BAFC2-114F-43E9-9EFC-F6095034875B}"/>
    <dgm:cxn modelId="{F3A4DA9A-314E-CD4E-88DD-C596B9148393}" type="presOf" srcId="{E15282A0-97C8-214B-8F13-5C3D9F494625}" destId="{0C2E6E5A-794E-724B-A389-111AC14C96EB}" srcOrd="0" destOrd="0" presId="urn:microsoft.com/office/officeart/2005/8/layout/vList5"/>
    <dgm:cxn modelId="{367E3E4A-9E2F-484C-B225-CF5323C0A966}" type="presOf" srcId="{56FD74BF-F2D5-4BAF-917F-EE8C92B19290}" destId="{41EF5177-79D9-456D-92A5-5568A201F435}" srcOrd="0" destOrd="0" presId="urn:microsoft.com/office/officeart/2005/8/layout/vList5"/>
    <dgm:cxn modelId="{A5426B0F-FD1F-4448-BCDB-1B5C8751997B}" type="presOf" srcId="{02BA0D8E-884F-D545-BFF7-95207C181DAB}" destId="{5325FF06-BE85-6742-9495-B8F42BFC9B7F}" srcOrd="0" destOrd="0" presId="urn:microsoft.com/office/officeart/2005/8/layout/vList5"/>
    <dgm:cxn modelId="{F5120F8F-DB12-224A-9619-18E7931B4453}" srcId="{02BA0D8E-884F-D545-BFF7-95207C181DAB}" destId="{E15282A0-97C8-214B-8F13-5C3D9F494625}" srcOrd="0" destOrd="0" parTransId="{BA02AD92-5D10-1A42-9AE6-EC337DB75B02}" sibTransId="{B5EB1C69-2E79-4D4F-8BAE-137DF3E41A38}"/>
    <dgm:cxn modelId="{6813AD57-BADA-6045-83AA-A9E7095FBDDD}" type="presParOf" srcId="{5325FF06-BE85-6742-9495-B8F42BFC9B7F}" destId="{7BAD8ECD-59ED-9B4F-8899-D532BFF1F82A}" srcOrd="0" destOrd="0" presId="urn:microsoft.com/office/officeart/2005/8/layout/vList5"/>
    <dgm:cxn modelId="{7DBAA590-4067-B246-A352-99641556F8CC}" type="presParOf" srcId="{7BAD8ECD-59ED-9B4F-8899-D532BFF1F82A}" destId="{0C2E6E5A-794E-724B-A389-111AC14C96EB}" srcOrd="0" destOrd="0" presId="urn:microsoft.com/office/officeart/2005/8/layout/vList5"/>
    <dgm:cxn modelId="{9F7B4A98-E957-7443-82B3-59078DBEB4F4}" type="presParOf" srcId="{7BAD8ECD-59ED-9B4F-8899-D532BFF1F82A}" destId="{41EF5177-79D9-456D-92A5-5568A201F435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44F371D9-EE28-43D3-A86D-541CB7E51DB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2945230-8A03-49C4-AE11-508590DB7B8B}">
      <dgm:prSet/>
      <dgm:spPr/>
      <dgm:t>
        <a:bodyPr/>
        <a:lstStyle/>
        <a:p>
          <a:r>
            <a:rPr lang="en-US" b="1" dirty="0">
              <a:solidFill>
                <a:schemeClr val="bg1"/>
              </a:solidFill>
            </a:rPr>
            <a:t>Pages </a:t>
          </a:r>
          <a:r>
            <a:rPr lang="en-US" b="1" dirty="0" smtClean="0">
              <a:solidFill>
                <a:schemeClr val="bg1"/>
              </a:solidFill>
            </a:rPr>
            <a:t>17-18</a:t>
          </a:r>
          <a:endParaRPr lang="en-US" b="1" dirty="0">
            <a:solidFill>
              <a:schemeClr val="bg1"/>
            </a:solidFill>
          </a:endParaRPr>
        </a:p>
      </dgm:t>
    </dgm:pt>
    <dgm:pt modelId="{FC8924DD-BCE3-491E-AC57-3330F43EE0F3}" type="parTrans" cxnId="{5CB88DD1-22D4-42B5-A4FE-416A16A7EE1C}">
      <dgm:prSet/>
      <dgm:spPr/>
      <dgm:t>
        <a:bodyPr/>
        <a:lstStyle/>
        <a:p>
          <a:endParaRPr lang="en-US"/>
        </a:p>
      </dgm:t>
    </dgm:pt>
    <dgm:pt modelId="{0CE224DD-430C-4167-8C66-F0356FD49815}" type="sibTrans" cxnId="{5CB88DD1-22D4-42B5-A4FE-416A16A7EE1C}">
      <dgm:prSet/>
      <dgm:spPr/>
      <dgm:t>
        <a:bodyPr/>
        <a:lstStyle/>
        <a:p>
          <a:endParaRPr lang="en-US"/>
        </a:p>
      </dgm:t>
    </dgm:pt>
    <dgm:pt modelId="{834CDD0F-2A72-40E4-9F5C-254C6DC50A0F}" type="pres">
      <dgm:prSet presAssocID="{44F371D9-EE28-43D3-A86D-541CB7E51DB8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DDF5C611-4A57-4D32-BF4D-AD972F42154B}" type="pres">
      <dgm:prSet presAssocID="{C2945230-8A03-49C4-AE11-508590DB7B8B}" presName="circ1TxSh" presStyleLbl="vennNode1" presStyleIdx="0" presStyleCnt="1"/>
      <dgm:spPr/>
      <dgm:t>
        <a:bodyPr/>
        <a:lstStyle/>
        <a:p>
          <a:endParaRPr lang="en-CA"/>
        </a:p>
      </dgm:t>
    </dgm:pt>
  </dgm:ptLst>
  <dgm:cxnLst>
    <dgm:cxn modelId="{2AECFEB9-5A9A-4A4F-B60A-2DEDDF657E49}" type="presOf" srcId="{C2945230-8A03-49C4-AE11-508590DB7B8B}" destId="{DDF5C611-4A57-4D32-BF4D-AD972F42154B}" srcOrd="0" destOrd="0" presId="urn:microsoft.com/office/officeart/2005/8/layout/venn1"/>
    <dgm:cxn modelId="{5CB88DD1-22D4-42B5-A4FE-416A16A7EE1C}" srcId="{44F371D9-EE28-43D3-A86D-541CB7E51DB8}" destId="{C2945230-8A03-49C4-AE11-508590DB7B8B}" srcOrd="0" destOrd="0" parTransId="{FC8924DD-BCE3-491E-AC57-3330F43EE0F3}" sibTransId="{0CE224DD-430C-4167-8C66-F0356FD49815}"/>
    <dgm:cxn modelId="{7A3F2C3E-50BC-F34A-B76B-E05E3618F240}" type="presOf" srcId="{44F371D9-EE28-43D3-A86D-541CB7E51DB8}" destId="{834CDD0F-2A72-40E4-9F5C-254C6DC50A0F}" srcOrd="0" destOrd="0" presId="urn:microsoft.com/office/officeart/2005/8/layout/venn1"/>
    <dgm:cxn modelId="{D4C59FF9-514F-0348-A6A0-C861E14DE888}" type="presParOf" srcId="{834CDD0F-2A72-40E4-9F5C-254C6DC50A0F}" destId="{DDF5C611-4A57-4D32-BF4D-AD972F42154B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2BA0D8E-884F-D545-BFF7-95207C181DAB}" type="doc">
      <dgm:prSet loTypeId="urn:microsoft.com/office/officeart/2005/8/layout/vList5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CF0461F7-EC97-BB41-A574-9C1E3009EACC}">
      <dgm:prSet/>
      <dgm:spPr/>
      <dgm:t>
        <a:bodyPr/>
        <a:lstStyle/>
        <a:p>
          <a:pPr rtl="0"/>
          <a:r>
            <a:rPr lang="en-CA" dirty="0" err="1"/>
            <a:t>rrsp</a:t>
          </a:r>
          <a:endParaRPr lang="en-CA" dirty="0"/>
        </a:p>
      </dgm:t>
    </dgm:pt>
    <dgm:pt modelId="{B2C709E6-0566-4D4E-97EA-2EBE699D701F}" type="parTrans" cxnId="{674D6C8A-30E6-564D-9142-120BB4D947A9}">
      <dgm:prSet/>
      <dgm:spPr/>
      <dgm:t>
        <a:bodyPr/>
        <a:lstStyle/>
        <a:p>
          <a:endParaRPr lang="en-CA"/>
        </a:p>
      </dgm:t>
    </dgm:pt>
    <dgm:pt modelId="{ABC1C475-5434-1B41-BC48-ADC728C8CBF7}" type="sibTrans" cxnId="{674D6C8A-30E6-564D-9142-120BB4D947A9}">
      <dgm:prSet/>
      <dgm:spPr/>
      <dgm:t>
        <a:bodyPr/>
        <a:lstStyle/>
        <a:p>
          <a:endParaRPr lang="en-CA"/>
        </a:p>
      </dgm:t>
    </dgm:pt>
    <dgm:pt modelId="{C8A9BCB3-602F-FC4A-9626-FAF506510228}">
      <dgm:prSet/>
      <dgm:spPr/>
      <dgm:t>
        <a:bodyPr/>
        <a:lstStyle/>
        <a:p>
          <a:pPr rtl="0"/>
          <a:r>
            <a:rPr lang="en-CA" dirty="0"/>
            <a:t>medical expenses</a:t>
          </a:r>
        </a:p>
      </dgm:t>
    </dgm:pt>
    <dgm:pt modelId="{0B803AD3-6C2C-FE47-9803-37C40BE4582E}" type="parTrans" cxnId="{56EF0DD2-1AD6-AC4D-8684-479C4202D190}">
      <dgm:prSet/>
      <dgm:spPr/>
      <dgm:t>
        <a:bodyPr/>
        <a:lstStyle/>
        <a:p>
          <a:endParaRPr lang="en-CA"/>
        </a:p>
      </dgm:t>
    </dgm:pt>
    <dgm:pt modelId="{8C959BF5-5ADE-2F4A-B433-E7E671FD26BE}" type="sibTrans" cxnId="{56EF0DD2-1AD6-AC4D-8684-479C4202D190}">
      <dgm:prSet/>
      <dgm:spPr/>
      <dgm:t>
        <a:bodyPr/>
        <a:lstStyle/>
        <a:p>
          <a:endParaRPr lang="en-CA"/>
        </a:p>
      </dgm:t>
    </dgm:pt>
    <dgm:pt modelId="{5325FF06-BE85-6742-9495-B8F42BFC9B7F}" type="pres">
      <dgm:prSet presAssocID="{02BA0D8E-884F-D545-BFF7-95207C181DA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29217676-BC9A-6F40-9378-16D87FA052B5}" type="pres">
      <dgm:prSet presAssocID="{CF0461F7-EC97-BB41-A574-9C1E3009EACC}" presName="linNode" presStyleCnt="0"/>
      <dgm:spPr/>
    </dgm:pt>
    <dgm:pt modelId="{43DEFE45-1517-3942-920E-48C520E9C0B4}" type="pres">
      <dgm:prSet presAssocID="{CF0461F7-EC97-BB41-A574-9C1E3009EACC}" presName="parentText" presStyleLbl="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FF47BD01-2861-BB4B-B9F0-6E54E6904159}" type="pres">
      <dgm:prSet presAssocID="{ABC1C475-5434-1B41-BC48-ADC728C8CBF7}" presName="sp" presStyleCnt="0"/>
      <dgm:spPr/>
    </dgm:pt>
    <dgm:pt modelId="{77BABA58-F98D-1C40-83AE-B449CF65A5F1}" type="pres">
      <dgm:prSet presAssocID="{C8A9BCB3-602F-FC4A-9626-FAF506510228}" presName="linNode" presStyleCnt="0"/>
      <dgm:spPr/>
    </dgm:pt>
    <dgm:pt modelId="{64DA235F-5C58-0240-8B02-6F606EB39216}" type="pres">
      <dgm:prSet presAssocID="{C8A9BCB3-602F-FC4A-9626-FAF506510228}" presName="parentText" presStyleLbl="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CA"/>
        </a:p>
      </dgm:t>
    </dgm:pt>
  </dgm:ptLst>
  <dgm:cxnLst>
    <dgm:cxn modelId="{56EF0DD2-1AD6-AC4D-8684-479C4202D190}" srcId="{02BA0D8E-884F-D545-BFF7-95207C181DAB}" destId="{C8A9BCB3-602F-FC4A-9626-FAF506510228}" srcOrd="1" destOrd="0" parTransId="{0B803AD3-6C2C-FE47-9803-37C40BE4582E}" sibTransId="{8C959BF5-5ADE-2F4A-B433-E7E671FD26BE}"/>
    <dgm:cxn modelId="{674D6C8A-30E6-564D-9142-120BB4D947A9}" srcId="{02BA0D8E-884F-D545-BFF7-95207C181DAB}" destId="{CF0461F7-EC97-BB41-A574-9C1E3009EACC}" srcOrd="0" destOrd="0" parTransId="{B2C709E6-0566-4D4E-97EA-2EBE699D701F}" sibTransId="{ABC1C475-5434-1B41-BC48-ADC728C8CBF7}"/>
    <dgm:cxn modelId="{56A311C1-D812-2E46-B41F-12A5484EA87B}" type="presOf" srcId="{02BA0D8E-884F-D545-BFF7-95207C181DAB}" destId="{5325FF06-BE85-6742-9495-B8F42BFC9B7F}" srcOrd="0" destOrd="0" presId="urn:microsoft.com/office/officeart/2005/8/layout/vList5"/>
    <dgm:cxn modelId="{39C88009-41E3-3F41-9477-D42A81E0494C}" type="presOf" srcId="{CF0461F7-EC97-BB41-A574-9C1E3009EACC}" destId="{43DEFE45-1517-3942-920E-48C520E9C0B4}" srcOrd="0" destOrd="0" presId="urn:microsoft.com/office/officeart/2005/8/layout/vList5"/>
    <dgm:cxn modelId="{770433B3-FDE5-B543-9734-F46CD5B0E0C5}" type="presOf" srcId="{C8A9BCB3-602F-FC4A-9626-FAF506510228}" destId="{64DA235F-5C58-0240-8B02-6F606EB39216}" srcOrd="0" destOrd="0" presId="urn:microsoft.com/office/officeart/2005/8/layout/vList5"/>
    <dgm:cxn modelId="{46AB2473-CB19-7648-BC55-8AC414934FC1}" type="presParOf" srcId="{5325FF06-BE85-6742-9495-B8F42BFC9B7F}" destId="{29217676-BC9A-6F40-9378-16D87FA052B5}" srcOrd="0" destOrd="0" presId="urn:microsoft.com/office/officeart/2005/8/layout/vList5"/>
    <dgm:cxn modelId="{B2345488-D625-AF44-BA12-3343A012FBE2}" type="presParOf" srcId="{29217676-BC9A-6F40-9378-16D87FA052B5}" destId="{43DEFE45-1517-3942-920E-48C520E9C0B4}" srcOrd="0" destOrd="0" presId="urn:microsoft.com/office/officeart/2005/8/layout/vList5"/>
    <dgm:cxn modelId="{FE727A6C-89F7-4144-B7B8-7E7EBDC1E8D1}" type="presParOf" srcId="{5325FF06-BE85-6742-9495-B8F42BFC9B7F}" destId="{FF47BD01-2861-BB4B-B9F0-6E54E6904159}" srcOrd="1" destOrd="0" presId="urn:microsoft.com/office/officeart/2005/8/layout/vList5"/>
    <dgm:cxn modelId="{5DEB7493-FB8A-1D44-84DC-FEE31D8D8E63}" type="presParOf" srcId="{5325FF06-BE85-6742-9495-B8F42BFC9B7F}" destId="{77BABA58-F98D-1C40-83AE-B449CF65A5F1}" srcOrd="2" destOrd="0" presId="urn:microsoft.com/office/officeart/2005/8/layout/vList5"/>
    <dgm:cxn modelId="{C40487A2-E808-2448-9158-DF5550EFC04F}" type="presParOf" srcId="{77BABA58-F98D-1C40-83AE-B449CF65A5F1}" destId="{64DA235F-5C58-0240-8B02-6F606EB39216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4F371D9-EE28-43D3-A86D-541CB7E51DB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2945230-8A03-49C4-AE11-508590DB7B8B}">
      <dgm:prSet/>
      <dgm:spPr/>
      <dgm:t>
        <a:bodyPr/>
        <a:lstStyle/>
        <a:p>
          <a:r>
            <a:rPr lang="en-US" b="1" dirty="0" smtClean="0">
              <a:solidFill>
                <a:schemeClr val="bg1"/>
              </a:solidFill>
            </a:rPr>
            <a:t>Pages 6-8</a:t>
          </a:r>
          <a:endParaRPr lang="en-US" b="1" dirty="0">
            <a:solidFill>
              <a:schemeClr val="bg1"/>
            </a:solidFill>
          </a:endParaRPr>
        </a:p>
      </dgm:t>
    </dgm:pt>
    <dgm:pt modelId="{FC8924DD-BCE3-491E-AC57-3330F43EE0F3}" type="parTrans" cxnId="{5CB88DD1-22D4-42B5-A4FE-416A16A7EE1C}">
      <dgm:prSet/>
      <dgm:spPr/>
      <dgm:t>
        <a:bodyPr/>
        <a:lstStyle/>
        <a:p>
          <a:endParaRPr lang="en-US"/>
        </a:p>
      </dgm:t>
    </dgm:pt>
    <dgm:pt modelId="{0CE224DD-430C-4167-8C66-F0356FD49815}" type="sibTrans" cxnId="{5CB88DD1-22D4-42B5-A4FE-416A16A7EE1C}">
      <dgm:prSet/>
      <dgm:spPr/>
      <dgm:t>
        <a:bodyPr/>
        <a:lstStyle/>
        <a:p>
          <a:endParaRPr lang="en-US"/>
        </a:p>
      </dgm:t>
    </dgm:pt>
    <dgm:pt modelId="{834CDD0F-2A72-40E4-9F5C-254C6DC50A0F}" type="pres">
      <dgm:prSet presAssocID="{44F371D9-EE28-43D3-A86D-541CB7E51DB8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DDF5C611-4A57-4D32-BF4D-AD972F42154B}" type="pres">
      <dgm:prSet presAssocID="{C2945230-8A03-49C4-AE11-508590DB7B8B}" presName="circ1TxSh" presStyleLbl="vennNode1" presStyleIdx="0" presStyleCnt="1"/>
      <dgm:spPr/>
      <dgm:t>
        <a:bodyPr/>
        <a:lstStyle/>
        <a:p>
          <a:endParaRPr lang="en-CA"/>
        </a:p>
      </dgm:t>
    </dgm:pt>
  </dgm:ptLst>
  <dgm:cxnLst>
    <dgm:cxn modelId="{A0FFBED7-0860-D145-971D-9A2E181B7F44}" type="presOf" srcId="{44F371D9-EE28-43D3-A86D-541CB7E51DB8}" destId="{834CDD0F-2A72-40E4-9F5C-254C6DC50A0F}" srcOrd="0" destOrd="0" presId="urn:microsoft.com/office/officeart/2005/8/layout/venn1"/>
    <dgm:cxn modelId="{5CB88DD1-22D4-42B5-A4FE-416A16A7EE1C}" srcId="{44F371D9-EE28-43D3-A86D-541CB7E51DB8}" destId="{C2945230-8A03-49C4-AE11-508590DB7B8B}" srcOrd="0" destOrd="0" parTransId="{FC8924DD-BCE3-491E-AC57-3330F43EE0F3}" sibTransId="{0CE224DD-430C-4167-8C66-F0356FD49815}"/>
    <dgm:cxn modelId="{0B5C6E73-1420-3746-9AC1-AC02BA83B004}" type="presOf" srcId="{C2945230-8A03-49C4-AE11-508590DB7B8B}" destId="{DDF5C611-4A57-4D32-BF4D-AD972F42154B}" srcOrd="0" destOrd="0" presId="urn:microsoft.com/office/officeart/2005/8/layout/venn1"/>
    <dgm:cxn modelId="{CA33AC62-9F2A-FF42-BB24-3A56CBDA1C7A}" type="presParOf" srcId="{834CDD0F-2A72-40E4-9F5C-254C6DC50A0F}" destId="{DDF5C611-4A57-4D32-BF4D-AD972F42154B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2BA0D8E-884F-D545-BFF7-95207C181DAB}" type="doc">
      <dgm:prSet loTypeId="urn:microsoft.com/office/officeart/2005/8/layout/vList5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CF0461F7-EC97-BB41-A574-9C1E3009EACC}">
      <dgm:prSet/>
      <dgm:spPr/>
      <dgm:t>
        <a:bodyPr/>
        <a:lstStyle/>
        <a:p>
          <a:pPr rtl="0"/>
          <a:r>
            <a:rPr lang="en-CA" dirty="0"/>
            <a:t>family linking</a:t>
          </a:r>
        </a:p>
      </dgm:t>
    </dgm:pt>
    <dgm:pt modelId="{B2C709E6-0566-4D4E-97EA-2EBE699D701F}" type="parTrans" cxnId="{674D6C8A-30E6-564D-9142-120BB4D947A9}">
      <dgm:prSet/>
      <dgm:spPr/>
      <dgm:t>
        <a:bodyPr/>
        <a:lstStyle/>
        <a:p>
          <a:endParaRPr lang="en-CA"/>
        </a:p>
      </dgm:t>
    </dgm:pt>
    <dgm:pt modelId="{ABC1C475-5434-1B41-BC48-ADC728C8CBF7}" type="sibTrans" cxnId="{674D6C8A-30E6-564D-9142-120BB4D947A9}">
      <dgm:prSet/>
      <dgm:spPr/>
      <dgm:t>
        <a:bodyPr/>
        <a:lstStyle/>
        <a:p>
          <a:endParaRPr lang="en-CA"/>
        </a:p>
      </dgm:t>
    </dgm:pt>
    <dgm:pt modelId="{19046CE4-597F-CD4A-AB52-A3C5E2A15403}">
      <dgm:prSet/>
      <dgm:spPr/>
      <dgm:t>
        <a:bodyPr/>
        <a:lstStyle/>
        <a:p>
          <a:pPr rtl="0"/>
          <a:r>
            <a:rPr lang="en-CA" dirty="0"/>
            <a:t>dependants</a:t>
          </a:r>
        </a:p>
      </dgm:t>
    </dgm:pt>
    <dgm:pt modelId="{3A450626-6637-D743-866A-CB3454228EF0}" type="parTrans" cxnId="{FAEE8D02-F38C-8843-9CE0-F19561AF8DEE}">
      <dgm:prSet/>
      <dgm:spPr/>
      <dgm:t>
        <a:bodyPr/>
        <a:lstStyle/>
        <a:p>
          <a:endParaRPr lang="en-CA"/>
        </a:p>
      </dgm:t>
    </dgm:pt>
    <dgm:pt modelId="{15A41638-BF56-8C42-B4D5-62E753CF1AFC}" type="sibTrans" cxnId="{FAEE8D02-F38C-8843-9CE0-F19561AF8DEE}">
      <dgm:prSet/>
      <dgm:spPr/>
      <dgm:t>
        <a:bodyPr/>
        <a:lstStyle/>
        <a:p>
          <a:endParaRPr lang="en-CA"/>
        </a:p>
      </dgm:t>
    </dgm:pt>
    <dgm:pt modelId="{E15282A0-97C8-214B-8F13-5C3D9F494625}">
      <dgm:prSet/>
      <dgm:spPr/>
      <dgm:t>
        <a:bodyPr/>
        <a:lstStyle/>
        <a:p>
          <a:pPr rtl="0"/>
          <a:r>
            <a:rPr lang="en-CA" dirty="0"/>
            <a:t>tuition</a:t>
          </a:r>
        </a:p>
      </dgm:t>
    </dgm:pt>
    <dgm:pt modelId="{BA02AD92-5D10-1A42-9AE6-EC337DB75B02}" type="parTrans" cxnId="{F5120F8F-DB12-224A-9619-18E7931B4453}">
      <dgm:prSet/>
      <dgm:spPr/>
      <dgm:t>
        <a:bodyPr/>
        <a:lstStyle/>
        <a:p>
          <a:endParaRPr lang="en-CA"/>
        </a:p>
      </dgm:t>
    </dgm:pt>
    <dgm:pt modelId="{B5EB1C69-2E79-4D4F-8BAE-137DF3E41A38}" type="sibTrans" cxnId="{F5120F8F-DB12-224A-9619-18E7931B4453}">
      <dgm:prSet/>
      <dgm:spPr/>
      <dgm:t>
        <a:bodyPr/>
        <a:lstStyle/>
        <a:p>
          <a:endParaRPr lang="en-CA"/>
        </a:p>
      </dgm:t>
    </dgm:pt>
    <dgm:pt modelId="{5325FF06-BE85-6742-9495-B8F42BFC9B7F}" type="pres">
      <dgm:prSet presAssocID="{02BA0D8E-884F-D545-BFF7-95207C181DA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29217676-BC9A-6F40-9378-16D87FA052B5}" type="pres">
      <dgm:prSet presAssocID="{CF0461F7-EC97-BB41-A574-9C1E3009EACC}" presName="linNode" presStyleCnt="0"/>
      <dgm:spPr/>
    </dgm:pt>
    <dgm:pt modelId="{43DEFE45-1517-3942-920E-48C520E9C0B4}" type="pres">
      <dgm:prSet presAssocID="{CF0461F7-EC97-BB41-A574-9C1E3009EACC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FF47BD01-2861-BB4B-B9F0-6E54E6904159}" type="pres">
      <dgm:prSet presAssocID="{ABC1C475-5434-1B41-BC48-ADC728C8CBF7}" presName="sp" presStyleCnt="0"/>
      <dgm:spPr/>
    </dgm:pt>
    <dgm:pt modelId="{5A7371AB-578E-A14A-8FBD-1EE9E7724C23}" type="pres">
      <dgm:prSet presAssocID="{19046CE4-597F-CD4A-AB52-A3C5E2A15403}" presName="linNode" presStyleCnt="0"/>
      <dgm:spPr/>
    </dgm:pt>
    <dgm:pt modelId="{8B8DC794-AF05-4341-9A24-AD2972E53CAB}" type="pres">
      <dgm:prSet presAssocID="{19046CE4-597F-CD4A-AB52-A3C5E2A15403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68D5EEBF-9C26-5B45-A581-30B99D23E862}" type="pres">
      <dgm:prSet presAssocID="{15A41638-BF56-8C42-B4D5-62E753CF1AFC}" presName="sp" presStyleCnt="0"/>
      <dgm:spPr/>
    </dgm:pt>
    <dgm:pt modelId="{7BAD8ECD-59ED-9B4F-8899-D532BFF1F82A}" type="pres">
      <dgm:prSet presAssocID="{E15282A0-97C8-214B-8F13-5C3D9F494625}" presName="linNode" presStyleCnt="0"/>
      <dgm:spPr/>
    </dgm:pt>
    <dgm:pt modelId="{0C2E6E5A-794E-724B-A389-111AC14C96EB}" type="pres">
      <dgm:prSet presAssocID="{E15282A0-97C8-214B-8F13-5C3D9F494625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CA"/>
        </a:p>
      </dgm:t>
    </dgm:pt>
  </dgm:ptLst>
  <dgm:cxnLst>
    <dgm:cxn modelId="{5A43ADD2-4D02-FC42-BB35-F1D9FE9C3CAA}" type="presOf" srcId="{E15282A0-97C8-214B-8F13-5C3D9F494625}" destId="{0C2E6E5A-794E-724B-A389-111AC14C96EB}" srcOrd="0" destOrd="0" presId="urn:microsoft.com/office/officeart/2005/8/layout/vList5"/>
    <dgm:cxn modelId="{FAEE8D02-F38C-8843-9CE0-F19561AF8DEE}" srcId="{02BA0D8E-884F-D545-BFF7-95207C181DAB}" destId="{19046CE4-597F-CD4A-AB52-A3C5E2A15403}" srcOrd="1" destOrd="0" parTransId="{3A450626-6637-D743-866A-CB3454228EF0}" sibTransId="{15A41638-BF56-8C42-B4D5-62E753CF1AFC}"/>
    <dgm:cxn modelId="{674D6C8A-30E6-564D-9142-120BB4D947A9}" srcId="{02BA0D8E-884F-D545-BFF7-95207C181DAB}" destId="{CF0461F7-EC97-BB41-A574-9C1E3009EACC}" srcOrd="0" destOrd="0" parTransId="{B2C709E6-0566-4D4E-97EA-2EBE699D701F}" sibTransId="{ABC1C475-5434-1B41-BC48-ADC728C8CBF7}"/>
    <dgm:cxn modelId="{83AAF3FB-199D-A941-B459-EAC47BBDCB99}" type="presOf" srcId="{CF0461F7-EC97-BB41-A574-9C1E3009EACC}" destId="{43DEFE45-1517-3942-920E-48C520E9C0B4}" srcOrd="0" destOrd="0" presId="urn:microsoft.com/office/officeart/2005/8/layout/vList5"/>
    <dgm:cxn modelId="{F5120F8F-DB12-224A-9619-18E7931B4453}" srcId="{02BA0D8E-884F-D545-BFF7-95207C181DAB}" destId="{E15282A0-97C8-214B-8F13-5C3D9F494625}" srcOrd="2" destOrd="0" parTransId="{BA02AD92-5D10-1A42-9AE6-EC337DB75B02}" sibTransId="{B5EB1C69-2E79-4D4F-8BAE-137DF3E41A38}"/>
    <dgm:cxn modelId="{8D7B22F5-C327-364C-A6D1-03F06DAFB365}" type="presOf" srcId="{02BA0D8E-884F-D545-BFF7-95207C181DAB}" destId="{5325FF06-BE85-6742-9495-B8F42BFC9B7F}" srcOrd="0" destOrd="0" presId="urn:microsoft.com/office/officeart/2005/8/layout/vList5"/>
    <dgm:cxn modelId="{031E4D06-2048-F547-96BB-D343EAC8DB11}" type="presOf" srcId="{19046CE4-597F-CD4A-AB52-A3C5E2A15403}" destId="{8B8DC794-AF05-4341-9A24-AD2972E53CAB}" srcOrd="0" destOrd="0" presId="urn:microsoft.com/office/officeart/2005/8/layout/vList5"/>
    <dgm:cxn modelId="{2183700A-A3DB-724E-B9B8-DB742CD28736}" type="presParOf" srcId="{5325FF06-BE85-6742-9495-B8F42BFC9B7F}" destId="{29217676-BC9A-6F40-9378-16D87FA052B5}" srcOrd="0" destOrd="0" presId="urn:microsoft.com/office/officeart/2005/8/layout/vList5"/>
    <dgm:cxn modelId="{10FC5777-46EB-DB4C-8794-9CBC7E968C4C}" type="presParOf" srcId="{29217676-BC9A-6F40-9378-16D87FA052B5}" destId="{43DEFE45-1517-3942-920E-48C520E9C0B4}" srcOrd="0" destOrd="0" presId="urn:microsoft.com/office/officeart/2005/8/layout/vList5"/>
    <dgm:cxn modelId="{C43E21C2-7A73-5146-969E-AAEF502F95C7}" type="presParOf" srcId="{5325FF06-BE85-6742-9495-B8F42BFC9B7F}" destId="{FF47BD01-2861-BB4B-B9F0-6E54E6904159}" srcOrd="1" destOrd="0" presId="urn:microsoft.com/office/officeart/2005/8/layout/vList5"/>
    <dgm:cxn modelId="{C3D54D11-7BC8-2043-BFC1-191D4DE585E6}" type="presParOf" srcId="{5325FF06-BE85-6742-9495-B8F42BFC9B7F}" destId="{5A7371AB-578E-A14A-8FBD-1EE9E7724C23}" srcOrd="2" destOrd="0" presId="urn:microsoft.com/office/officeart/2005/8/layout/vList5"/>
    <dgm:cxn modelId="{660AE6E1-B3CE-354C-A416-BB2304DAAB1B}" type="presParOf" srcId="{5A7371AB-578E-A14A-8FBD-1EE9E7724C23}" destId="{8B8DC794-AF05-4341-9A24-AD2972E53CAB}" srcOrd="0" destOrd="0" presId="urn:microsoft.com/office/officeart/2005/8/layout/vList5"/>
    <dgm:cxn modelId="{14E173E8-498E-7249-B89E-AD5DE232508D}" type="presParOf" srcId="{5325FF06-BE85-6742-9495-B8F42BFC9B7F}" destId="{68D5EEBF-9C26-5B45-A581-30B99D23E862}" srcOrd="3" destOrd="0" presId="urn:microsoft.com/office/officeart/2005/8/layout/vList5"/>
    <dgm:cxn modelId="{4D17F6AF-1A9E-344D-965F-97044FF74353}" type="presParOf" srcId="{5325FF06-BE85-6742-9495-B8F42BFC9B7F}" destId="{7BAD8ECD-59ED-9B4F-8899-D532BFF1F82A}" srcOrd="4" destOrd="0" presId="urn:microsoft.com/office/officeart/2005/8/layout/vList5"/>
    <dgm:cxn modelId="{45033D4D-0CB8-1E40-B388-8D589A4C00E5}" type="presParOf" srcId="{7BAD8ECD-59ED-9B4F-8899-D532BFF1F82A}" destId="{0C2E6E5A-794E-724B-A389-111AC14C96EB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4F371D9-EE28-43D3-A86D-541CB7E51DB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2945230-8A03-49C4-AE11-508590DB7B8B}">
      <dgm:prSet/>
      <dgm:spPr/>
      <dgm:t>
        <a:bodyPr/>
        <a:lstStyle/>
        <a:p>
          <a:r>
            <a:rPr lang="en-US" b="1" dirty="0" smtClean="0">
              <a:solidFill>
                <a:schemeClr val="bg1"/>
              </a:solidFill>
            </a:rPr>
            <a:t>Pages 9-11</a:t>
          </a:r>
          <a:endParaRPr lang="en-US" b="1" dirty="0">
            <a:solidFill>
              <a:schemeClr val="bg1"/>
            </a:solidFill>
          </a:endParaRPr>
        </a:p>
      </dgm:t>
    </dgm:pt>
    <dgm:pt modelId="{FC8924DD-BCE3-491E-AC57-3330F43EE0F3}" type="parTrans" cxnId="{5CB88DD1-22D4-42B5-A4FE-416A16A7EE1C}">
      <dgm:prSet/>
      <dgm:spPr/>
      <dgm:t>
        <a:bodyPr/>
        <a:lstStyle/>
        <a:p>
          <a:endParaRPr lang="en-US"/>
        </a:p>
      </dgm:t>
    </dgm:pt>
    <dgm:pt modelId="{0CE224DD-430C-4167-8C66-F0356FD49815}" type="sibTrans" cxnId="{5CB88DD1-22D4-42B5-A4FE-416A16A7EE1C}">
      <dgm:prSet/>
      <dgm:spPr/>
      <dgm:t>
        <a:bodyPr/>
        <a:lstStyle/>
        <a:p>
          <a:endParaRPr lang="en-US"/>
        </a:p>
      </dgm:t>
    </dgm:pt>
    <dgm:pt modelId="{834CDD0F-2A72-40E4-9F5C-254C6DC50A0F}" type="pres">
      <dgm:prSet presAssocID="{44F371D9-EE28-43D3-A86D-541CB7E51DB8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DDF5C611-4A57-4D32-BF4D-AD972F42154B}" type="pres">
      <dgm:prSet presAssocID="{C2945230-8A03-49C4-AE11-508590DB7B8B}" presName="circ1TxSh" presStyleLbl="vennNode1" presStyleIdx="0" presStyleCnt="1"/>
      <dgm:spPr/>
      <dgm:t>
        <a:bodyPr/>
        <a:lstStyle/>
        <a:p>
          <a:endParaRPr lang="en-CA"/>
        </a:p>
      </dgm:t>
    </dgm:pt>
  </dgm:ptLst>
  <dgm:cxnLst>
    <dgm:cxn modelId="{5CB88DD1-22D4-42B5-A4FE-416A16A7EE1C}" srcId="{44F371D9-EE28-43D3-A86D-541CB7E51DB8}" destId="{C2945230-8A03-49C4-AE11-508590DB7B8B}" srcOrd="0" destOrd="0" parTransId="{FC8924DD-BCE3-491E-AC57-3330F43EE0F3}" sibTransId="{0CE224DD-430C-4167-8C66-F0356FD49815}"/>
    <dgm:cxn modelId="{30F08950-5283-2C4D-A812-4DFBE6A3E15B}" type="presOf" srcId="{C2945230-8A03-49C4-AE11-508590DB7B8B}" destId="{DDF5C611-4A57-4D32-BF4D-AD972F42154B}" srcOrd="0" destOrd="0" presId="urn:microsoft.com/office/officeart/2005/8/layout/venn1"/>
    <dgm:cxn modelId="{7C161C1B-FB01-144E-92A5-6EE10C8D3727}" type="presOf" srcId="{44F371D9-EE28-43D3-A86D-541CB7E51DB8}" destId="{834CDD0F-2A72-40E4-9F5C-254C6DC50A0F}" srcOrd="0" destOrd="0" presId="urn:microsoft.com/office/officeart/2005/8/layout/venn1"/>
    <dgm:cxn modelId="{08373333-1DB1-9043-A37B-DC1218A87BED}" type="presParOf" srcId="{834CDD0F-2A72-40E4-9F5C-254C6DC50A0F}" destId="{DDF5C611-4A57-4D32-BF4D-AD972F42154B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02BA0D8E-884F-D545-BFF7-95207C181DAB}" type="doc">
      <dgm:prSet loTypeId="urn:microsoft.com/office/officeart/2005/8/layout/vList5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CF0461F7-EC97-BB41-A574-9C1E3009EACC}">
      <dgm:prSet/>
      <dgm:spPr/>
      <dgm:t>
        <a:bodyPr/>
        <a:lstStyle/>
        <a:p>
          <a:pPr rtl="0"/>
          <a:r>
            <a:rPr lang="en-CA" dirty="0"/>
            <a:t>optimizing</a:t>
          </a:r>
        </a:p>
      </dgm:t>
    </dgm:pt>
    <dgm:pt modelId="{B2C709E6-0566-4D4E-97EA-2EBE699D701F}" type="parTrans" cxnId="{674D6C8A-30E6-564D-9142-120BB4D947A9}">
      <dgm:prSet/>
      <dgm:spPr/>
      <dgm:t>
        <a:bodyPr/>
        <a:lstStyle/>
        <a:p>
          <a:endParaRPr lang="en-CA"/>
        </a:p>
      </dgm:t>
    </dgm:pt>
    <dgm:pt modelId="{ABC1C475-5434-1B41-BC48-ADC728C8CBF7}" type="sibTrans" cxnId="{674D6C8A-30E6-564D-9142-120BB4D947A9}">
      <dgm:prSet/>
      <dgm:spPr/>
      <dgm:t>
        <a:bodyPr/>
        <a:lstStyle/>
        <a:p>
          <a:endParaRPr lang="en-CA"/>
        </a:p>
      </dgm:t>
    </dgm:pt>
    <dgm:pt modelId="{19046CE4-597F-CD4A-AB52-A3C5E2A15403}">
      <dgm:prSet/>
      <dgm:spPr/>
      <dgm:t>
        <a:bodyPr/>
        <a:lstStyle/>
        <a:p>
          <a:pPr rtl="0"/>
          <a:r>
            <a:rPr lang="en-CA" dirty="0"/>
            <a:t>pension splitting</a:t>
          </a:r>
        </a:p>
      </dgm:t>
    </dgm:pt>
    <dgm:pt modelId="{3A450626-6637-D743-866A-CB3454228EF0}" type="parTrans" cxnId="{FAEE8D02-F38C-8843-9CE0-F19561AF8DEE}">
      <dgm:prSet/>
      <dgm:spPr/>
      <dgm:t>
        <a:bodyPr/>
        <a:lstStyle/>
        <a:p>
          <a:endParaRPr lang="en-CA"/>
        </a:p>
      </dgm:t>
    </dgm:pt>
    <dgm:pt modelId="{15A41638-BF56-8C42-B4D5-62E753CF1AFC}" type="sibTrans" cxnId="{FAEE8D02-F38C-8843-9CE0-F19561AF8DEE}">
      <dgm:prSet/>
      <dgm:spPr/>
      <dgm:t>
        <a:bodyPr/>
        <a:lstStyle/>
        <a:p>
          <a:endParaRPr lang="en-CA"/>
        </a:p>
      </dgm:t>
    </dgm:pt>
    <dgm:pt modelId="{5325FF06-BE85-6742-9495-B8F42BFC9B7F}" type="pres">
      <dgm:prSet presAssocID="{02BA0D8E-884F-D545-BFF7-95207C181DA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29217676-BC9A-6F40-9378-16D87FA052B5}" type="pres">
      <dgm:prSet presAssocID="{CF0461F7-EC97-BB41-A574-9C1E3009EACC}" presName="linNode" presStyleCnt="0"/>
      <dgm:spPr/>
    </dgm:pt>
    <dgm:pt modelId="{43DEFE45-1517-3942-920E-48C520E9C0B4}" type="pres">
      <dgm:prSet presAssocID="{CF0461F7-EC97-BB41-A574-9C1E3009EACC}" presName="parentText" presStyleLbl="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FF47BD01-2861-BB4B-B9F0-6E54E6904159}" type="pres">
      <dgm:prSet presAssocID="{ABC1C475-5434-1B41-BC48-ADC728C8CBF7}" presName="sp" presStyleCnt="0"/>
      <dgm:spPr/>
    </dgm:pt>
    <dgm:pt modelId="{5A7371AB-578E-A14A-8FBD-1EE9E7724C23}" type="pres">
      <dgm:prSet presAssocID="{19046CE4-597F-CD4A-AB52-A3C5E2A15403}" presName="linNode" presStyleCnt="0"/>
      <dgm:spPr/>
    </dgm:pt>
    <dgm:pt modelId="{8B8DC794-AF05-4341-9A24-AD2972E53CAB}" type="pres">
      <dgm:prSet presAssocID="{19046CE4-597F-CD4A-AB52-A3C5E2A15403}" presName="parentText" presStyleLbl="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en-CA"/>
        </a:p>
      </dgm:t>
    </dgm:pt>
  </dgm:ptLst>
  <dgm:cxnLst>
    <dgm:cxn modelId="{6A7B36F4-4F02-3340-8253-6A58CA785685}" type="presOf" srcId="{02BA0D8E-884F-D545-BFF7-95207C181DAB}" destId="{5325FF06-BE85-6742-9495-B8F42BFC9B7F}" srcOrd="0" destOrd="0" presId="urn:microsoft.com/office/officeart/2005/8/layout/vList5"/>
    <dgm:cxn modelId="{674D6C8A-30E6-564D-9142-120BB4D947A9}" srcId="{02BA0D8E-884F-D545-BFF7-95207C181DAB}" destId="{CF0461F7-EC97-BB41-A574-9C1E3009EACC}" srcOrd="0" destOrd="0" parTransId="{B2C709E6-0566-4D4E-97EA-2EBE699D701F}" sibTransId="{ABC1C475-5434-1B41-BC48-ADC728C8CBF7}"/>
    <dgm:cxn modelId="{C1A1F3BB-7631-5647-ADB5-8A64E2B197CE}" type="presOf" srcId="{19046CE4-597F-CD4A-AB52-A3C5E2A15403}" destId="{8B8DC794-AF05-4341-9A24-AD2972E53CAB}" srcOrd="0" destOrd="0" presId="urn:microsoft.com/office/officeart/2005/8/layout/vList5"/>
    <dgm:cxn modelId="{FAEE8D02-F38C-8843-9CE0-F19561AF8DEE}" srcId="{02BA0D8E-884F-D545-BFF7-95207C181DAB}" destId="{19046CE4-597F-CD4A-AB52-A3C5E2A15403}" srcOrd="1" destOrd="0" parTransId="{3A450626-6637-D743-866A-CB3454228EF0}" sibTransId="{15A41638-BF56-8C42-B4D5-62E753CF1AFC}"/>
    <dgm:cxn modelId="{3D84D902-935E-634A-8D64-6601D184CB10}" type="presOf" srcId="{CF0461F7-EC97-BB41-A574-9C1E3009EACC}" destId="{43DEFE45-1517-3942-920E-48C520E9C0B4}" srcOrd="0" destOrd="0" presId="urn:microsoft.com/office/officeart/2005/8/layout/vList5"/>
    <dgm:cxn modelId="{1E1EEAE7-2822-414C-B494-931C912233B7}" type="presParOf" srcId="{5325FF06-BE85-6742-9495-B8F42BFC9B7F}" destId="{29217676-BC9A-6F40-9378-16D87FA052B5}" srcOrd="0" destOrd="0" presId="urn:microsoft.com/office/officeart/2005/8/layout/vList5"/>
    <dgm:cxn modelId="{EC46B2FD-391B-BC48-98C1-54E6BD7089C1}" type="presParOf" srcId="{29217676-BC9A-6F40-9378-16D87FA052B5}" destId="{43DEFE45-1517-3942-920E-48C520E9C0B4}" srcOrd="0" destOrd="0" presId="urn:microsoft.com/office/officeart/2005/8/layout/vList5"/>
    <dgm:cxn modelId="{BD4AE883-8EF6-7C48-9631-17E5CEA2638E}" type="presParOf" srcId="{5325FF06-BE85-6742-9495-B8F42BFC9B7F}" destId="{FF47BD01-2861-BB4B-B9F0-6E54E6904159}" srcOrd="1" destOrd="0" presId="urn:microsoft.com/office/officeart/2005/8/layout/vList5"/>
    <dgm:cxn modelId="{DB27C8DE-C540-B848-BFDB-BD20266EFEB2}" type="presParOf" srcId="{5325FF06-BE85-6742-9495-B8F42BFC9B7F}" destId="{5A7371AB-578E-A14A-8FBD-1EE9E7724C23}" srcOrd="2" destOrd="0" presId="urn:microsoft.com/office/officeart/2005/8/layout/vList5"/>
    <dgm:cxn modelId="{C31B8EE5-86C1-5D45-AE12-5237C7F2507A}" type="presParOf" srcId="{5A7371AB-578E-A14A-8FBD-1EE9E7724C23}" destId="{8B8DC794-AF05-4341-9A24-AD2972E53CAB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4F371D9-EE28-43D3-A86D-541CB7E51DB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2945230-8A03-49C4-AE11-508590DB7B8B}">
      <dgm:prSet/>
      <dgm:spPr/>
      <dgm:t>
        <a:bodyPr/>
        <a:lstStyle/>
        <a:p>
          <a:r>
            <a:rPr lang="en-US" b="1" dirty="0" smtClean="0">
              <a:solidFill>
                <a:schemeClr val="bg1"/>
              </a:solidFill>
            </a:rPr>
            <a:t>Pages 11-13</a:t>
          </a:r>
          <a:endParaRPr lang="en-US" b="1" dirty="0">
            <a:solidFill>
              <a:schemeClr val="bg1"/>
            </a:solidFill>
          </a:endParaRPr>
        </a:p>
      </dgm:t>
    </dgm:pt>
    <dgm:pt modelId="{FC8924DD-BCE3-491E-AC57-3330F43EE0F3}" type="parTrans" cxnId="{5CB88DD1-22D4-42B5-A4FE-416A16A7EE1C}">
      <dgm:prSet/>
      <dgm:spPr/>
      <dgm:t>
        <a:bodyPr/>
        <a:lstStyle/>
        <a:p>
          <a:endParaRPr lang="en-US"/>
        </a:p>
      </dgm:t>
    </dgm:pt>
    <dgm:pt modelId="{0CE224DD-430C-4167-8C66-F0356FD49815}" type="sibTrans" cxnId="{5CB88DD1-22D4-42B5-A4FE-416A16A7EE1C}">
      <dgm:prSet/>
      <dgm:spPr/>
      <dgm:t>
        <a:bodyPr/>
        <a:lstStyle/>
        <a:p>
          <a:endParaRPr lang="en-US"/>
        </a:p>
      </dgm:t>
    </dgm:pt>
    <dgm:pt modelId="{834CDD0F-2A72-40E4-9F5C-254C6DC50A0F}" type="pres">
      <dgm:prSet presAssocID="{44F371D9-EE28-43D3-A86D-541CB7E51DB8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DDF5C611-4A57-4D32-BF4D-AD972F42154B}" type="pres">
      <dgm:prSet presAssocID="{C2945230-8A03-49C4-AE11-508590DB7B8B}" presName="circ1TxSh" presStyleLbl="vennNode1" presStyleIdx="0" presStyleCnt="1"/>
      <dgm:spPr/>
      <dgm:t>
        <a:bodyPr/>
        <a:lstStyle/>
        <a:p>
          <a:endParaRPr lang="en-CA"/>
        </a:p>
      </dgm:t>
    </dgm:pt>
  </dgm:ptLst>
  <dgm:cxnLst>
    <dgm:cxn modelId="{005AD081-022A-7B4C-A8DF-09B10780DD53}" type="presOf" srcId="{C2945230-8A03-49C4-AE11-508590DB7B8B}" destId="{DDF5C611-4A57-4D32-BF4D-AD972F42154B}" srcOrd="0" destOrd="0" presId="urn:microsoft.com/office/officeart/2005/8/layout/venn1"/>
    <dgm:cxn modelId="{5CB88DD1-22D4-42B5-A4FE-416A16A7EE1C}" srcId="{44F371D9-EE28-43D3-A86D-541CB7E51DB8}" destId="{C2945230-8A03-49C4-AE11-508590DB7B8B}" srcOrd="0" destOrd="0" parTransId="{FC8924DD-BCE3-491E-AC57-3330F43EE0F3}" sibTransId="{0CE224DD-430C-4167-8C66-F0356FD49815}"/>
    <dgm:cxn modelId="{3C717BB2-C469-9C41-9235-DB942E00DBB7}" type="presOf" srcId="{44F371D9-EE28-43D3-A86D-541CB7E51DB8}" destId="{834CDD0F-2A72-40E4-9F5C-254C6DC50A0F}" srcOrd="0" destOrd="0" presId="urn:microsoft.com/office/officeart/2005/8/layout/venn1"/>
    <dgm:cxn modelId="{4EEF883C-A205-2F4C-AE20-7A0966FAFFDF}" type="presParOf" srcId="{834CDD0F-2A72-40E4-9F5C-254C6DC50A0F}" destId="{DDF5C611-4A57-4D32-BF4D-AD972F42154B}" srcOrd="0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6DEDEA1E-A791-ED43-B8F7-042878B392C2}" type="doc">
      <dgm:prSet loTypeId="urn:microsoft.com/office/officeart/2005/8/layout/vList5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BAFF057-DFF4-9240-90C3-99C3358A915C}">
      <dgm:prSet/>
      <dgm:spPr/>
      <dgm:t>
        <a:bodyPr/>
        <a:lstStyle/>
        <a:p>
          <a:pPr rtl="0"/>
          <a:r>
            <a:rPr lang="en-US" dirty="0" smtClean="0"/>
            <a:t>P&amp;L -</a:t>
          </a:r>
          <a:r>
            <a:rPr lang="en-CA" dirty="0" smtClean="0"/>
            <a:t> T2125</a:t>
          </a:r>
          <a:endParaRPr lang="en-US" dirty="0"/>
        </a:p>
      </dgm:t>
    </dgm:pt>
    <dgm:pt modelId="{16A61E8D-4669-804D-8DD2-EB890EAE0E39}" type="parTrans" cxnId="{829A2295-0A35-4D48-8E05-9AC7F5975828}">
      <dgm:prSet/>
      <dgm:spPr/>
      <dgm:t>
        <a:bodyPr/>
        <a:lstStyle/>
        <a:p>
          <a:endParaRPr lang="en-US"/>
        </a:p>
      </dgm:t>
    </dgm:pt>
    <dgm:pt modelId="{49A8A604-CDA3-A847-B394-C2992D2238DF}" type="sibTrans" cxnId="{829A2295-0A35-4D48-8E05-9AC7F5975828}">
      <dgm:prSet/>
      <dgm:spPr/>
      <dgm:t>
        <a:bodyPr/>
        <a:lstStyle/>
        <a:p>
          <a:endParaRPr lang="en-US"/>
        </a:p>
      </dgm:t>
    </dgm:pt>
    <dgm:pt modelId="{09677A40-7047-624F-997B-88EB161DF8D4}">
      <dgm:prSet/>
      <dgm:spPr/>
      <dgm:t>
        <a:bodyPr/>
        <a:lstStyle/>
        <a:p>
          <a:pPr rtl="0"/>
          <a:r>
            <a:rPr lang="en-US" dirty="0" smtClean="0"/>
            <a:t>vehicle</a:t>
          </a:r>
          <a:endParaRPr lang="en-US" dirty="0"/>
        </a:p>
      </dgm:t>
    </dgm:pt>
    <dgm:pt modelId="{5FDDB3F7-675B-DE42-A68C-A8E95AA50004}" type="parTrans" cxnId="{5D003ECB-53FC-EC45-9576-9D664FBAF4B1}">
      <dgm:prSet/>
      <dgm:spPr/>
      <dgm:t>
        <a:bodyPr/>
        <a:lstStyle/>
        <a:p>
          <a:endParaRPr lang="en-US"/>
        </a:p>
      </dgm:t>
    </dgm:pt>
    <dgm:pt modelId="{F51C938F-CDF1-ED42-A2EF-960CC13EF03B}" type="sibTrans" cxnId="{5D003ECB-53FC-EC45-9576-9D664FBAF4B1}">
      <dgm:prSet/>
      <dgm:spPr/>
      <dgm:t>
        <a:bodyPr/>
        <a:lstStyle/>
        <a:p>
          <a:endParaRPr lang="en-US"/>
        </a:p>
      </dgm:t>
    </dgm:pt>
    <dgm:pt modelId="{B22DBAC5-31D0-C244-B9BC-FF5CAE5451EA}">
      <dgm:prSet/>
      <dgm:spPr/>
      <dgm:t>
        <a:bodyPr/>
        <a:lstStyle/>
        <a:p>
          <a:pPr rtl="0"/>
          <a:r>
            <a:rPr lang="en-US" dirty="0" smtClean="0"/>
            <a:t>home office</a:t>
          </a:r>
          <a:endParaRPr lang="en-US" dirty="0"/>
        </a:p>
      </dgm:t>
    </dgm:pt>
    <dgm:pt modelId="{C8C73D3A-6F27-CF45-A5E7-9F554AC30604}" type="parTrans" cxnId="{8A4A6B00-0BBA-124A-9B25-008FFB473D9B}">
      <dgm:prSet/>
      <dgm:spPr/>
      <dgm:t>
        <a:bodyPr/>
        <a:lstStyle/>
        <a:p>
          <a:endParaRPr lang="en-US"/>
        </a:p>
      </dgm:t>
    </dgm:pt>
    <dgm:pt modelId="{215F2700-3CDE-6E43-BBA6-5A5AEC713524}" type="sibTrans" cxnId="{8A4A6B00-0BBA-124A-9B25-008FFB473D9B}">
      <dgm:prSet/>
      <dgm:spPr/>
      <dgm:t>
        <a:bodyPr/>
        <a:lstStyle/>
        <a:p>
          <a:endParaRPr lang="en-US"/>
        </a:p>
      </dgm:t>
    </dgm:pt>
    <dgm:pt modelId="{1C1CA45A-F793-6F43-8EE2-75C940693FE3}" type="pres">
      <dgm:prSet presAssocID="{6DEDEA1E-A791-ED43-B8F7-042878B392C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4137A109-99D0-1C40-8266-C373CB714877}" type="pres">
      <dgm:prSet presAssocID="{CBAFF057-DFF4-9240-90C3-99C3358A915C}" presName="linNode" presStyleCnt="0"/>
      <dgm:spPr/>
    </dgm:pt>
    <dgm:pt modelId="{B7868026-D99A-144F-B965-9EDF6935815D}" type="pres">
      <dgm:prSet presAssocID="{CBAFF057-DFF4-9240-90C3-99C3358A915C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4D4A27AE-46E7-3542-92ED-6008981EF56B}" type="pres">
      <dgm:prSet presAssocID="{49A8A604-CDA3-A847-B394-C2992D2238DF}" presName="sp" presStyleCnt="0"/>
      <dgm:spPr/>
    </dgm:pt>
    <dgm:pt modelId="{45D65901-1A7A-C74A-8CEE-0A0F7EF40781}" type="pres">
      <dgm:prSet presAssocID="{09677A40-7047-624F-997B-88EB161DF8D4}" presName="linNode" presStyleCnt="0"/>
      <dgm:spPr/>
    </dgm:pt>
    <dgm:pt modelId="{155758EF-131E-9D4F-B56F-E7669135FCE0}" type="pres">
      <dgm:prSet presAssocID="{09677A40-7047-624F-997B-88EB161DF8D4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E3F03283-9AE6-BE4C-A738-4CEF5D7E3405}" type="pres">
      <dgm:prSet presAssocID="{F51C938F-CDF1-ED42-A2EF-960CC13EF03B}" presName="sp" presStyleCnt="0"/>
      <dgm:spPr/>
    </dgm:pt>
    <dgm:pt modelId="{4B99EB12-55FB-7345-AE92-72E137F0A69C}" type="pres">
      <dgm:prSet presAssocID="{B22DBAC5-31D0-C244-B9BC-FF5CAE5451EA}" presName="linNode" presStyleCnt="0"/>
      <dgm:spPr/>
    </dgm:pt>
    <dgm:pt modelId="{DD2F5EE8-C013-164A-A2A2-07C862C73CF7}" type="pres">
      <dgm:prSet presAssocID="{B22DBAC5-31D0-C244-B9BC-FF5CAE5451EA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CA"/>
        </a:p>
      </dgm:t>
    </dgm:pt>
  </dgm:ptLst>
  <dgm:cxnLst>
    <dgm:cxn modelId="{3C2C2624-2B73-C542-9E8D-548F7C6AB2C5}" type="presOf" srcId="{CBAFF057-DFF4-9240-90C3-99C3358A915C}" destId="{B7868026-D99A-144F-B965-9EDF6935815D}" srcOrd="0" destOrd="0" presId="urn:microsoft.com/office/officeart/2005/8/layout/vList5"/>
    <dgm:cxn modelId="{4F1649B5-A0C1-9A4D-94A2-FB5A08EE2657}" type="presOf" srcId="{6DEDEA1E-A791-ED43-B8F7-042878B392C2}" destId="{1C1CA45A-F793-6F43-8EE2-75C940693FE3}" srcOrd="0" destOrd="0" presId="urn:microsoft.com/office/officeart/2005/8/layout/vList5"/>
    <dgm:cxn modelId="{B74CFC1E-7D77-F247-97F5-3258812F79D3}" type="presOf" srcId="{09677A40-7047-624F-997B-88EB161DF8D4}" destId="{155758EF-131E-9D4F-B56F-E7669135FCE0}" srcOrd="0" destOrd="0" presId="urn:microsoft.com/office/officeart/2005/8/layout/vList5"/>
    <dgm:cxn modelId="{C5AEE53C-DDDB-6B48-858A-4833147AD630}" type="presOf" srcId="{B22DBAC5-31D0-C244-B9BC-FF5CAE5451EA}" destId="{DD2F5EE8-C013-164A-A2A2-07C862C73CF7}" srcOrd="0" destOrd="0" presId="urn:microsoft.com/office/officeart/2005/8/layout/vList5"/>
    <dgm:cxn modelId="{5D003ECB-53FC-EC45-9576-9D664FBAF4B1}" srcId="{6DEDEA1E-A791-ED43-B8F7-042878B392C2}" destId="{09677A40-7047-624F-997B-88EB161DF8D4}" srcOrd="1" destOrd="0" parTransId="{5FDDB3F7-675B-DE42-A68C-A8E95AA50004}" sibTransId="{F51C938F-CDF1-ED42-A2EF-960CC13EF03B}"/>
    <dgm:cxn modelId="{8A4A6B00-0BBA-124A-9B25-008FFB473D9B}" srcId="{6DEDEA1E-A791-ED43-B8F7-042878B392C2}" destId="{B22DBAC5-31D0-C244-B9BC-FF5CAE5451EA}" srcOrd="2" destOrd="0" parTransId="{C8C73D3A-6F27-CF45-A5E7-9F554AC30604}" sibTransId="{215F2700-3CDE-6E43-BBA6-5A5AEC713524}"/>
    <dgm:cxn modelId="{829A2295-0A35-4D48-8E05-9AC7F5975828}" srcId="{6DEDEA1E-A791-ED43-B8F7-042878B392C2}" destId="{CBAFF057-DFF4-9240-90C3-99C3358A915C}" srcOrd="0" destOrd="0" parTransId="{16A61E8D-4669-804D-8DD2-EB890EAE0E39}" sibTransId="{49A8A604-CDA3-A847-B394-C2992D2238DF}"/>
    <dgm:cxn modelId="{5C5B9BC2-7840-7D45-9EE2-00E8D1CE9CCA}" type="presParOf" srcId="{1C1CA45A-F793-6F43-8EE2-75C940693FE3}" destId="{4137A109-99D0-1C40-8266-C373CB714877}" srcOrd="0" destOrd="0" presId="urn:microsoft.com/office/officeart/2005/8/layout/vList5"/>
    <dgm:cxn modelId="{C25464F1-06C7-024E-9527-27FFCF01FAEE}" type="presParOf" srcId="{4137A109-99D0-1C40-8266-C373CB714877}" destId="{B7868026-D99A-144F-B965-9EDF6935815D}" srcOrd="0" destOrd="0" presId="urn:microsoft.com/office/officeart/2005/8/layout/vList5"/>
    <dgm:cxn modelId="{48E245AD-C801-6847-A75A-BDC04619EF84}" type="presParOf" srcId="{1C1CA45A-F793-6F43-8EE2-75C940693FE3}" destId="{4D4A27AE-46E7-3542-92ED-6008981EF56B}" srcOrd="1" destOrd="0" presId="urn:microsoft.com/office/officeart/2005/8/layout/vList5"/>
    <dgm:cxn modelId="{13582313-9F87-3545-A935-E8363DD2BDD3}" type="presParOf" srcId="{1C1CA45A-F793-6F43-8EE2-75C940693FE3}" destId="{45D65901-1A7A-C74A-8CEE-0A0F7EF40781}" srcOrd="2" destOrd="0" presId="urn:microsoft.com/office/officeart/2005/8/layout/vList5"/>
    <dgm:cxn modelId="{77D3FD01-AB2E-DA4F-9C18-0F1F9C2930A3}" type="presParOf" srcId="{45D65901-1A7A-C74A-8CEE-0A0F7EF40781}" destId="{155758EF-131E-9D4F-B56F-E7669135FCE0}" srcOrd="0" destOrd="0" presId="urn:microsoft.com/office/officeart/2005/8/layout/vList5"/>
    <dgm:cxn modelId="{96D0450E-94E7-124C-B9A7-1207311A0B41}" type="presParOf" srcId="{1C1CA45A-F793-6F43-8EE2-75C940693FE3}" destId="{E3F03283-9AE6-BE4C-A738-4CEF5D7E3405}" srcOrd="3" destOrd="0" presId="urn:microsoft.com/office/officeart/2005/8/layout/vList5"/>
    <dgm:cxn modelId="{5C2713A3-4B68-9D4A-9503-D4B7691CE799}" type="presParOf" srcId="{1C1CA45A-F793-6F43-8EE2-75C940693FE3}" destId="{4B99EB12-55FB-7345-AE92-72E137F0A69C}" srcOrd="4" destOrd="0" presId="urn:microsoft.com/office/officeart/2005/8/layout/vList5"/>
    <dgm:cxn modelId="{593B45B7-B4B1-CE4B-AF7E-441C2491A4FB}" type="presParOf" srcId="{4B99EB12-55FB-7345-AE92-72E137F0A69C}" destId="{DD2F5EE8-C013-164A-A2A2-07C862C73CF7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5D62F0D9-F62E-470E-86C1-99BBA8E85072}" type="doc">
      <dgm:prSet loTypeId="urn:microsoft.com/office/officeart/2005/8/layout/cycle2" loCatId="cycle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DF463DA-C321-47BB-A748-44B5D722BDE4}">
      <dgm:prSet/>
      <dgm:spPr/>
      <dgm:t>
        <a:bodyPr/>
        <a:lstStyle/>
        <a:p>
          <a:r>
            <a:rPr lang="en-US" dirty="0"/>
            <a:t>pages </a:t>
          </a:r>
          <a:r>
            <a:rPr lang="en-US" dirty="0" smtClean="0"/>
            <a:t>13-16</a:t>
          </a:r>
          <a:endParaRPr lang="en-US" dirty="0"/>
        </a:p>
      </dgm:t>
    </dgm:pt>
    <dgm:pt modelId="{F48166A5-2C17-4691-BB69-444CA7309013}" type="sibTrans" cxnId="{DE7A5ECD-2A79-4AA9-A9C6-B8376AED4A18}">
      <dgm:prSet/>
      <dgm:spPr/>
      <dgm:t>
        <a:bodyPr/>
        <a:lstStyle/>
        <a:p>
          <a:endParaRPr lang="en-US"/>
        </a:p>
      </dgm:t>
    </dgm:pt>
    <dgm:pt modelId="{A8C8FDDF-A7B6-466B-8F6D-BCEF0E6E70DC}" type="parTrans" cxnId="{DE7A5ECD-2A79-4AA9-A9C6-B8376AED4A18}">
      <dgm:prSet/>
      <dgm:spPr/>
      <dgm:t>
        <a:bodyPr/>
        <a:lstStyle/>
        <a:p>
          <a:endParaRPr lang="en-US"/>
        </a:p>
      </dgm:t>
    </dgm:pt>
    <dgm:pt modelId="{8A46F5DD-BBB3-4FA2-8F4F-67830FF58BA8}" type="pres">
      <dgm:prSet presAssocID="{5D62F0D9-F62E-470E-86C1-99BBA8E85072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03D7DCAF-0535-410C-B056-000B4ED11701}" type="pres">
      <dgm:prSet presAssocID="{9DF463DA-C321-47BB-A748-44B5D722BDE4}" presName="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</dgm:ptLst>
  <dgm:cxnLst>
    <dgm:cxn modelId="{DED890D4-5161-7242-A8B4-B6969E24B65A}" type="presOf" srcId="{5D62F0D9-F62E-470E-86C1-99BBA8E85072}" destId="{8A46F5DD-BBB3-4FA2-8F4F-67830FF58BA8}" srcOrd="0" destOrd="0" presId="urn:microsoft.com/office/officeart/2005/8/layout/cycle2"/>
    <dgm:cxn modelId="{DE7A5ECD-2A79-4AA9-A9C6-B8376AED4A18}" srcId="{5D62F0D9-F62E-470E-86C1-99BBA8E85072}" destId="{9DF463DA-C321-47BB-A748-44B5D722BDE4}" srcOrd="0" destOrd="0" parTransId="{A8C8FDDF-A7B6-466B-8F6D-BCEF0E6E70DC}" sibTransId="{F48166A5-2C17-4691-BB69-444CA7309013}"/>
    <dgm:cxn modelId="{3AF551CB-BAB4-6346-8C41-E0DBB33B7A0D}" type="presOf" srcId="{9DF463DA-C321-47BB-A748-44B5D722BDE4}" destId="{03D7DCAF-0535-410C-B056-000B4ED11701}" srcOrd="0" destOrd="0" presId="urn:microsoft.com/office/officeart/2005/8/layout/cycle2"/>
    <dgm:cxn modelId="{8772B73C-F7C2-864B-8003-60F0E900BD82}" type="presParOf" srcId="{8A46F5DD-BBB3-4FA2-8F4F-67830FF58BA8}" destId="{03D7DCAF-0535-410C-B056-000B4ED11701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B25C73-5C82-454A-AF23-58BAC3E61242}">
      <dsp:nvSpPr>
        <dsp:cNvPr id="0" name=""/>
        <dsp:cNvSpPr/>
      </dsp:nvSpPr>
      <dsp:spPr>
        <a:xfrm rot="5400000">
          <a:off x="3156736" y="509448"/>
          <a:ext cx="2997294" cy="272772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285750" lvl="1" indent="-285750" algn="l" defTabSz="12890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CA" sz="2900" kern="1200" dirty="0" smtClean="0"/>
            <a:t>T1 and  dependants</a:t>
          </a:r>
          <a:endParaRPr lang="en-CA" sz="2900" kern="1200" dirty="0"/>
        </a:p>
        <a:p>
          <a:pPr marL="285750" lvl="1" indent="-285750" algn="l" defTabSz="12890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CA" sz="2900" kern="1200" dirty="0" smtClean="0"/>
            <a:t>Optimization</a:t>
          </a:r>
          <a:endParaRPr lang="en-CA" sz="2900" kern="1200" dirty="0"/>
        </a:p>
        <a:p>
          <a:pPr marL="285750" lvl="1" indent="-285750" algn="l" defTabSz="12890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CA" sz="2900" kern="1200" dirty="0" smtClean="0"/>
            <a:t>A T1 for the self-employed</a:t>
          </a:r>
          <a:endParaRPr lang="en-CA" sz="2900" kern="1200" dirty="0"/>
        </a:p>
      </dsp:txBody>
      <dsp:txXfrm rot="-5400000">
        <a:off x="3291522" y="507818"/>
        <a:ext cx="2594565" cy="2730982"/>
      </dsp:txXfrm>
    </dsp:sp>
    <dsp:sp modelId="{43DEFE45-1517-3942-920E-48C520E9C0B4}">
      <dsp:nvSpPr>
        <dsp:cNvPr id="0" name=""/>
        <dsp:cNvSpPr/>
      </dsp:nvSpPr>
      <dsp:spPr>
        <a:xfrm>
          <a:off x="555" y="0"/>
          <a:ext cx="3290967" cy="3746618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13360" tIns="106680" rIns="213360" bIns="106680" numCol="1" spcCol="1270" anchor="ctr" anchorCtr="0">
          <a:noAutofit/>
        </a:bodyPr>
        <a:lstStyle/>
        <a:p>
          <a:pPr lvl="0" algn="ctr" defTabSz="2489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5600" kern="1200" dirty="0" smtClean="0"/>
            <a:t>In this Chapter</a:t>
          </a:r>
        </a:p>
      </dsp:txBody>
      <dsp:txXfrm>
        <a:off x="161207" y="160652"/>
        <a:ext cx="2969663" cy="3425314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EF5177-79D9-456D-92A5-5568A201F435}">
      <dsp:nvSpPr>
        <dsp:cNvPr id="0" name=""/>
        <dsp:cNvSpPr/>
      </dsp:nvSpPr>
      <dsp:spPr>
        <a:xfrm rot="5400000">
          <a:off x="2602518" y="-450182"/>
          <a:ext cx="1987477" cy="3384712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CA" sz="2300" kern="1200" dirty="0"/>
            <a:t>date of entry</a:t>
          </a:r>
        </a:p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CA" sz="2300" kern="1200" dirty="0" err="1"/>
            <a:t>Cdn</a:t>
          </a:r>
          <a:r>
            <a:rPr lang="en-CA" sz="2300" kern="1200" dirty="0"/>
            <a:t> non-res income</a:t>
          </a:r>
        </a:p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CA" sz="2300" kern="1200" dirty="0"/>
            <a:t>Foreign non-res income</a:t>
          </a:r>
        </a:p>
        <a:p>
          <a:pPr marL="228600" lvl="1" indent="-228600" algn="l" defTabSz="10223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CA" sz="2300" kern="1200" dirty="0"/>
        </a:p>
      </dsp:txBody>
      <dsp:txXfrm rot="-5400000">
        <a:off x="1903901" y="345456"/>
        <a:ext cx="3287691" cy="1793435"/>
      </dsp:txXfrm>
    </dsp:sp>
    <dsp:sp modelId="{0C2E6E5A-794E-724B-A389-111AC14C96EB}">
      <dsp:nvSpPr>
        <dsp:cNvPr id="0" name=""/>
        <dsp:cNvSpPr/>
      </dsp:nvSpPr>
      <dsp:spPr>
        <a:xfrm>
          <a:off x="0" y="0"/>
          <a:ext cx="1903901" cy="2484347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lvl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2900" kern="1200" dirty="0"/>
            <a:t>Part-year residents</a:t>
          </a:r>
        </a:p>
      </dsp:txBody>
      <dsp:txXfrm>
        <a:off x="92941" y="92941"/>
        <a:ext cx="1718019" cy="2298465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F5C611-4A57-4D32-BF4D-AD972F42154B}">
      <dsp:nvSpPr>
        <dsp:cNvPr id="0" name=""/>
        <dsp:cNvSpPr/>
      </dsp:nvSpPr>
      <dsp:spPr>
        <a:xfrm>
          <a:off x="0" y="18813"/>
          <a:ext cx="1224907" cy="122490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>
              <a:solidFill>
                <a:schemeClr val="bg1"/>
              </a:solidFill>
            </a:rPr>
            <a:t>Pages </a:t>
          </a:r>
          <a:r>
            <a:rPr lang="en-US" sz="2300" b="1" kern="1200" dirty="0" smtClean="0">
              <a:solidFill>
                <a:schemeClr val="bg1"/>
              </a:solidFill>
            </a:rPr>
            <a:t>17-18</a:t>
          </a:r>
          <a:endParaRPr lang="en-US" sz="2300" b="1" kern="1200" dirty="0">
            <a:solidFill>
              <a:schemeClr val="bg1"/>
            </a:solidFill>
          </a:endParaRPr>
        </a:p>
      </dsp:txBody>
      <dsp:txXfrm>
        <a:off x="179383" y="198196"/>
        <a:ext cx="866141" cy="86614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DEFE45-1517-3942-920E-48C520E9C0B4}">
      <dsp:nvSpPr>
        <dsp:cNvPr id="0" name=""/>
        <dsp:cNvSpPr/>
      </dsp:nvSpPr>
      <dsp:spPr>
        <a:xfrm>
          <a:off x="1682496" y="43"/>
          <a:ext cx="1892808" cy="174698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2700" kern="1200" dirty="0" err="1"/>
            <a:t>rrsp</a:t>
          </a:r>
          <a:endParaRPr lang="en-CA" sz="2700" kern="1200" dirty="0"/>
        </a:p>
      </dsp:txBody>
      <dsp:txXfrm>
        <a:off x="1767777" y="85324"/>
        <a:ext cx="1722246" cy="1576419"/>
      </dsp:txXfrm>
    </dsp:sp>
    <dsp:sp modelId="{64DA235F-5C58-0240-8B02-6F606EB39216}">
      <dsp:nvSpPr>
        <dsp:cNvPr id="0" name=""/>
        <dsp:cNvSpPr/>
      </dsp:nvSpPr>
      <dsp:spPr>
        <a:xfrm>
          <a:off x="1682496" y="1834374"/>
          <a:ext cx="1892808" cy="174698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2870" tIns="51435" rIns="102870" bIns="51435" numCol="1" spcCol="1270" anchor="ctr" anchorCtr="0">
          <a:noAutofit/>
        </a:bodyPr>
        <a:lstStyle/>
        <a:p>
          <a:pPr lvl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2700" kern="1200" dirty="0"/>
            <a:t>medical expenses</a:t>
          </a:r>
        </a:p>
      </dsp:txBody>
      <dsp:txXfrm>
        <a:off x="1767777" y="1919655"/>
        <a:ext cx="1722246" cy="157641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F5C611-4A57-4D32-BF4D-AD972F42154B}">
      <dsp:nvSpPr>
        <dsp:cNvPr id="0" name=""/>
        <dsp:cNvSpPr/>
      </dsp:nvSpPr>
      <dsp:spPr>
        <a:xfrm>
          <a:off x="0" y="18813"/>
          <a:ext cx="1224907" cy="122490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>
              <a:solidFill>
                <a:schemeClr val="bg1"/>
              </a:solidFill>
            </a:rPr>
            <a:t>Pages 6-8</a:t>
          </a:r>
          <a:endParaRPr lang="en-US" sz="2300" b="1" kern="1200" dirty="0">
            <a:solidFill>
              <a:schemeClr val="bg1"/>
            </a:solidFill>
          </a:endParaRPr>
        </a:p>
      </dsp:txBody>
      <dsp:txXfrm>
        <a:off x="179383" y="198196"/>
        <a:ext cx="866141" cy="86614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DEFE45-1517-3942-920E-48C520E9C0B4}">
      <dsp:nvSpPr>
        <dsp:cNvPr id="0" name=""/>
        <dsp:cNvSpPr/>
      </dsp:nvSpPr>
      <dsp:spPr>
        <a:xfrm>
          <a:off x="1682496" y="1748"/>
          <a:ext cx="1892808" cy="115416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2300" kern="1200" dirty="0"/>
            <a:t>family linking</a:t>
          </a:r>
        </a:p>
      </dsp:txBody>
      <dsp:txXfrm>
        <a:off x="1738838" y="58090"/>
        <a:ext cx="1780124" cy="1041478"/>
      </dsp:txXfrm>
    </dsp:sp>
    <dsp:sp modelId="{8B8DC794-AF05-4341-9A24-AD2972E53CAB}">
      <dsp:nvSpPr>
        <dsp:cNvPr id="0" name=""/>
        <dsp:cNvSpPr/>
      </dsp:nvSpPr>
      <dsp:spPr>
        <a:xfrm>
          <a:off x="1682496" y="1213618"/>
          <a:ext cx="1892808" cy="115416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2300" kern="1200" dirty="0"/>
            <a:t>dependants</a:t>
          </a:r>
        </a:p>
      </dsp:txBody>
      <dsp:txXfrm>
        <a:off x="1738838" y="1269960"/>
        <a:ext cx="1780124" cy="1041478"/>
      </dsp:txXfrm>
    </dsp:sp>
    <dsp:sp modelId="{0C2E6E5A-794E-724B-A389-111AC14C96EB}">
      <dsp:nvSpPr>
        <dsp:cNvPr id="0" name=""/>
        <dsp:cNvSpPr/>
      </dsp:nvSpPr>
      <dsp:spPr>
        <a:xfrm>
          <a:off x="1682496" y="2425489"/>
          <a:ext cx="1892808" cy="1154162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2300" kern="1200" dirty="0"/>
            <a:t>tuition</a:t>
          </a:r>
        </a:p>
      </dsp:txBody>
      <dsp:txXfrm>
        <a:off x="1738838" y="2481831"/>
        <a:ext cx="1780124" cy="104147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F5C611-4A57-4D32-BF4D-AD972F42154B}">
      <dsp:nvSpPr>
        <dsp:cNvPr id="0" name=""/>
        <dsp:cNvSpPr/>
      </dsp:nvSpPr>
      <dsp:spPr>
        <a:xfrm>
          <a:off x="0" y="18813"/>
          <a:ext cx="1224907" cy="122490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>
              <a:solidFill>
                <a:schemeClr val="bg1"/>
              </a:solidFill>
            </a:rPr>
            <a:t>Pages 9-11</a:t>
          </a:r>
          <a:endParaRPr lang="en-US" sz="2300" b="1" kern="1200" dirty="0">
            <a:solidFill>
              <a:schemeClr val="bg1"/>
            </a:solidFill>
          </a:endParaRPr>
        </a:p>
      </dsp:txBody>
      <dsp:txXfrm>
        <a:off x="179383" y="198196"/>
        <a:ext cx="866141" cy="86614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DEFE45-1517-3942-920E-48C520E9C0B4}">
      <dsp:nvSpPr>
        <dsp:cNvPr id="0" name=""/>
        <dsp:cNvSpPr/>
      </dsp:nvSpPr>
      <dsp:spPr>
        <a:xfrm>
          <a:off x="1682496" y="43"/>
          <a:ext cx="1892808" cy="174698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lvl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2600" kern="1200" dirty="0"/>
            <a:t>optimizing</a:t>
          </a:r>
        </a:p>
      </dsp:txBody>
      <dsp:txXfrm>
        <a:off x="1767777" y="85324"/>
        <a:ext cx="1722246" cy="1576419"/>
      </dsp:txXfrm>
    </dsp:sp>
    <dsp:sp modelId="{8B8DC794-AF05-4341-9A24-AD2972E53CAB}">
      <dsp:nvSpPr>
        <dsp:cNvPr id="0" name=""/>
        <dsp:cNvSpPr/>
      </dsp:nvSpPr>
      <dsp:spPr>
        <a:xfrm>
          <a:off x="1682496" y="1834374"/>
          <a:ext cx="1892808" cy="1746981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9060" tIns="49530" rIns="99060" bIns="49530" numCol="1" spcCol="1270" anchor="ctr" anchorCtr="0">
          <a:noAutofit/>
        </a:bodyPr>
        <a:lstStyle/>
        <a:p>
          <a:pPr lvl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CA" sz="2600" kern="1200" dirty="0"/>
            <a:t>pension splitting</a:t>
          </a:r>
        </a:p>
      </dsp:txBody>
      <dsp:txXfrm>
        <a:off x="1767777" y="1919655"/>
        <a:ext cx="1722246" cy="157641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F5C611-4A57-4D32-BF4D-AD972F42154B}">
      <dsp:nvSpPr>
        <dsp:cNvPr id="0" name=""/>
        <dsp:cNvSpPr/>
      </dsp:nvSpPr>
      <dsp:spPr>
        <a:xfrm>
          <a:off x="0" y="18813"/>
          <a:ext cx="1224907" cy="122490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kern="1200" dirty="0" smtClean="0">
              <a:solidFill>
                <a:schemeClr val="bg1"/>
              </a:solidFill>
            </a:rPr>
            <a:t>Pages 11-13</a:t>
          </a:r>
          <a:endParaRPr lang="en-US" sz="2300" b="1" kern="1200" dirty="0">
            <a:solidFill>
              <a:schemeClr val="bg1"/>
            </a:solidFill>
          </a:endParaRPr>
        </a:p>
      </dsp:txBody>
      <dsp:txXfrm>
        <a:off x="179383" y="198196"/>
        <a:ext cx="866141" cy="86614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7868026-D99A-144F-B965-9EDF6935815D}">
      <dsp:nvSpPr>
        <dsp:cNvPr id="0" name=""/>
        <dsp:cNvSpPr/>
      </dsp:nvSpPr>
      <dsp:spPr>
        <a:xfrm>
          <a:off x="1146047" y="1934"/>
          <a:ext cx="1289304" cy="127694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P&amp;L -</a:t>
          </a:r>
          <a:r>
            <a:rPr lang="en-CA" sz="2400" kern="1200" dirty="0" smtClean="0"/>
            <a:t> T2125</a:t>
          </a:r>
          <a:endParaRPr lang="en-US" sz="2400" kern="1200" dirty="0"/>
        </a:p>
      </dsp:txBody>
      <dsp:txXfrm>
        <a:off x="1208382" y="64269"/>
        <a:ext cx="1164634" cy="1152275"/>
      </dsp:txXfrm>
    </dsp:sp>
    <dsp:sp modelId="{155758EF-131E-9D4F-B56F-E7669135FCE0}">
      <dsp:nvSpPr>
        <dsp:cNvPr id="0" name=""/>
        <dsp:cNvSpPr/>
      </dsp:nvSpPr>
      <dsp:spPr>
        <a:xfrm>
          <a:off x="1146047" y="1342727"/>
          <a:ext cx="1289304" cy="127694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vehicle</a:t>
          </a:r>
          <a:endParaRPr lang="en-US" sz="2400" kern="1200" dirty="0"/>
        </a:p>
      </dsp:txBody>
      <dsp:txXfrm>
        <a:off x="1208382" y="1405062"/>
        <a:ext cx="1164634" cy="1152275"/>
      </dsp:txXfrm>
    </dsp:sp>
    <dsp:sp modelId="{DD2F5EE8-C013-164A-A2A2-07C862C73CF7}">
      <dsp:nvSpPr>
        <dsp:cNvPr id="0" name=""/>
        <dsp:cNvSpPr/>
      </dsp:nvSpPr>
      <dsp:spPr>
        <a:xfrm>
          <a:off x="1146047" y="2683519"/>
          <a:ext cx="1289304" cy="1276945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home office</a:t>
          </a:r>
          <a:endParaRPr lang="en-US" sz="2400" kern="1200" dirty="0"/>
        </a:p>
      </dsp:txBody>
      <dsp:txXfrm>
        <a:off x="1208382" y="2745854"/>
        <a:ext cx="1164634" cy="115227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D7DCAF-0535-410C-B056-000B4ED11701}">
      <dsp:nvSpPr>
        <dsp:cNvPr id="0" name=""/>
        <dsp:cNvSpPr/>
      </dsp:nvSpPr>
      <dsp:spPr>
        <a:xfrm>
          <a:off x="240342" y="390"/>
          <a:ext cx="1342358" cy="1342358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31750" tIns="31750" rIns="31750" bIns="3175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/>
            <a:t>pages </a:t>
          </a:r>
          <a:r>
            <a:rPr lang="en-US" sz="2500" kern="1200" dirty="0" smtClean="0"/>
            <a:t>13-16</a:t>
          </a:r>
          <a:endParaRPr lang="en-US" sz="2500" kern="1200" dirty="0"/>
        </a:p>
      </dsp:txBody>
      <dsp:txXfrm>
        <a:off x="436926" y="196974"/>
        <a:ext cx="949190" cy="9491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70583" cy="482027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962" y="1"/>
            <a:ext cx="3170583" cy="482027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3969AFCD-3589-4BCD-B1CD-5D68B5A45A62}" type="datetimeFigureOut">
              <a:rPr lang="en-CA" smtClean="0"/>
              <a:t>04/01/2018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173"/>
            <a:ext cx="3170583" cy="482027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62" y="9119173"/>
            <a:ext cx="3170583" cy="482027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DB55A2A7-17EB-4531-ACA7-9942674A0C8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436104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C9078E22-508E-460D-B418-3C5F4B0802A2}" type="datetimeFigureOut">
              <a:rPr lang="en-US" smtClean="0"/>
              <a:t>1/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51" tIns="47425" rIns="94851" bIns="4742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4851" tIns="47425" rIns="94851" bIns="4742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6"/>
            <a:ext cx="3169920" cy="481726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6"/>
            <a:ext cx="3169920" cy="481726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6B19A31D-4D4F-47CE-9926-B2771FC723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1672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966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Refer to Page 6 and explain that ProFile can accommodate anything from the most basic T1 to the most advanced.</a:t>
            </a:r>
          </a:p>
          <a:p>
            <a:r>
              <a:rPr lang="en-US" baseline="0" dirty="0" smtClean="0"/>
              <a:t>Let’s take a look</a:t>
            </a:r>
            <a:r>
              <a:rPr lang="mr-IN" baseline="0" dirty="0" smtClean="0"/>
              <a:t>…</a:t>
            </a: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624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Refer to pages 6-8 and discuss</a:t>
            </a:r>
          </a:p>
          <a:p>
            <a:endParaRPr lang="en-US" baseline="0" dirty="0"/>
          </a:p>
          <a:p>
            <a:r>
              <a:rPr lang="en-US" baseline="0" dirty="0" smtClean="0"/>
              <a:t>- Recording RRSP slips and medical expenses</a:t>
            </a:r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	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2069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Discuss</a:t>
            </a:r>
            <a:endParaRPr lang="en-US" baseline="0" dirty="0"/>
          </a:p>
          <a:p>
            <a:r>
              <a:rPr lang="en-US" baseline="0" dirty="0" smtClean="0"/>
              <a:t>Family </a:t>
            </a:r>
            <a:r>
              <a:rPr lang="en-US" baseline="0" dirty="0"/>
              <a:t>Linking </a:t>
            </a:r>
            <a:r>
              <a:rPr lang="mr-IN" baseline="0" dirty="0"/>
              <a:t>–</a:t>
            </a:r>
            <a:r>
              <a:rPr lang="en-US" baseline="0" dirty="0"/>
              <a:t> </a:t>
            </a:r>
            <a:r>
              <a:rPr lang="en-US" baseline="0" dirty="0" smtClean="0"/>
              <a:t>p 9 t</a:t>
            </a:r>
          </a:p>
          <a:p>
            <a:r>
              <a:rPr lang="en-US" baseline="0" dirty="0" smtClean="0"/>
              <a:t>Creating a </a:t>
            </a:r>
            <a:r>
              <a:rPr lang="en-US" baseline="0" dirty="0" err="1" smtClean="0"/>
              <a:t>dependant’s</a:t>
            </a:r>
            <a:r>
              <a:rPr lang="en-US" baseline="0" dirty="0" smtClean="0"/>
              <a:t> return </a:t>
            </a:r>
            <a:r>
              <a:rPr lang="mr-IN" baseline="0" dirty="0" smtClean="0"/>
              <a:t>–</a:t>
            </a:r>
            <a:r>
              <a:rPr lang="en-US" baseline="0" dirty="0" smtClean="0"/>
              <a:t> page 10</a:t>
            </a:r>
            <a:endParaRPr lang="en-US" baseline="0" dirty="0"/>
          </a:p>
          <a:p>
            <a:r>
              <a:rPr lang="en-US" baseline="0" dirty="0" smtClean="0"/>
              <a:t>Tuition transfers - Page 11</a:t>
            </a:r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	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86670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Refer to Pages 11-13 and discuss</a:t>
            </a:r>
            <a:endParaRPr lang="en-US" baseline="0" dirty="0"/>
          </a:p>
          <a:p>
            <a:r>
              <a:rPr lang="en-US" baseline="0" dirty="0"/>
              <a:t>Introduce Optimizing </a:t>
            </a:r>
            <a:r>
              <a:rPr lang="mr-IN" baseline="0" dirty="0"/>
              <a:t>–</a:t>
            </a:r>
            <a:r>
              <a:rPr lang="en-CA" baseline="0" dirty="0"/>
              <a:t> </a:t>
            </a:r>
            <a:r>
              <a:rPr lang="en-CA" baseline="0" dirty="0" smtClean="0"/>
              <a:t>P11</a:t>
            </a:r>
            <a:endParaRPr lang="en-CA" baseline="0" dirty="0"/>
          </a:p>
          <a:p>
            <a:r>
              <a:rPr lang="en-CA" baseline="0" dirty="0"/>
              <a:t>Demo pension splitting </a:t>
            </a:r>
            <a:r>
              <a:rPr lang="mr-IN" baseline="0" dirty="0"/>
              <a:t>–</a:t>
            </a:r>
            <a:r>
              <a:rPr lang="en-CA" baseline="0" dirty="0"/>
              <a:t> </a:t>
            </a:r>
            <a:r>
              <a:rPr lang="en-CA" baseline="0" dirty="0" smtClean="0"/>
              <a:t>P12-13</a:t>
            </a:r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	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543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Refer to page 13 and introduce a T2125 for the self-employed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Describe the P&amp;L at page 14 and the T2125 at Page 15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Go on to Page 16 and discuss the way in which vehicle expenses are entered</a:t>
            </a:r>
          </a:p>
          <a:p>
            <a:pPr marL="171450" indent="-171450">
              <a:buFontTx/>
              <a:buChar char="-"/>
            </a:pPr>
            <a:r>
              <a:rPr lang="en-US" baseline="0" dirty="0" smtClean="0"/>
              <a:t>And also discuss home-office expenses</a:t>
            </a: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8D59A4-DDC9-43DD-9D1A-5A16C63BC4A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2608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  <a:p>
            <a:endParaRPr lang="en-CA" baseline="0" dirty="0"/>
          </a:p>
          <a:p>
            <a:r>
              <a:rPr lang="en-CA" baseline="0" dirty="0"/>
              <a:t>Discuss Part-year residents </a:t>
            </a:r>
            <a:r>
              <a:rPr lang="mr-IN" baseline="0" dirty="0"/>
              <a:t>–</a:t>
            </a:r>
            <a:r>
              <a:rPr lang="en-CA" baseline="0" dirty="0"/>
              <a:t> </a:t>
            </a:r>
            <a:r>
              <a:rPr lang="en-CA" baseline="0" dirty="0" smtClean="0"/>
              <a:t>at pages 17-18</a:t>
            </a:r>
            <a:endParaRPr lang="en-CA" baseline="0" dirty="0"/>
          </a:p>
          <a:p>
            <a:endParaRPr lang="en-CA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endParaRPr lang="en-US" baseline="0" dirty="0"/>
          </a:p>
          <a:p>
            <a:r>
              <a:rPr lang="en-US" baseline="0" dirty="0"/>
              <a:t> 	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19A31D-4D4F-47CE-9926-B2771FC7230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3851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profile-background.gi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226" y="609600"/>
            <a:ext cx="5741773" cy="6248400"/>
          </a:xfrm>
          <a:prstGeom prst="rect">
            <a:avLst/>
          </a:prstGeom>
        </p:spPr>
      </p:pic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438550" y="5014013"/>
            <a:ext cx="7083174" cy="117619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FontTx/>
              <a:buNone/>
              <a:defRPr sz="2198" b="0" i="0" cap="none" spc="-31">
                <a:solidFill>
                  <a:schemeClr val="tx1"/>
                </a:solidFill>
                <a:latin typeface="+mn-lt"/>
                <a:cs typeface="Avenir Next Demi Bold"/>
              </a:defRPr>
            </a:lvl1pPr>
            <a:lvl2pPr marL="456741" indent="0">
              <a:buFontTx/>
              <a:buNone/>
              <a:defRPr sz="1500">
                <a:solidFill>
                  <a:schemeClr val="bg1"/>
                </a:solidFill>
              </a:defRPr>
            </a:lvl2pPr>
            <a:lvl3pPr marL="913485" indent="0">
              <a:buFontTx/>
              <a:buNone/>
              <a:defRPr sz="1500">
                <a:solidFill>
                  <a:schemeClr val="bg1"/>
                </a:solidFill>
              </a:defRPr>
            </a:lvl3pPr>
            <a:lvl4pPr marL="1370226" indent="0">
              <a:buFontTx/>
              <a:buNone/>
              <a:defRPr sz="1500">
                <a:solidFill>
                  <a:schemeClr val="bg1"/>
                </a:solidFill>
              </a:defRPr>
            </a:lvl4pPr>
            <a:lvl5pPr marL="1826965" indent="0">
              <a:buFontTx/>
              <a:buNone/>
              <a:defRPr sz="15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an author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9"/>
          </p:nvPr>
        </p:nvSpPr>
        <p:spPr>
          <a:xfrm>
            <a:off x="1438550" y="4430582"/>
            <a:ext cx="7083174" cy="335107"/>
          </a:xfrm>
          <a:prstGeom prst="rect">
            <a:avLst/>
          </a:prstGeom>
        </p:spPr>
        <p:txBody>
          <a:bodyPr lIns="91424" tIns="45711" rIns="91424" bIns="45711" anchor="t" anchorCtr="0">
            <a:noAutofit/>
          </a:bodyPr>
          <a:lstStyle>
            <a:lvl1pPr>
              <a:defRPr sz="1600" spc="-31">
                <a:solidFill>
                  <a:schemeClr val="tx1"/>
                </a:solidFill>
                <a:latin typeface="+mn-lt"/>
              </a:defRPr>
            </a:lvl1pPr>
          </a:lstStyle>
          <a:p>
            <a:fld id="{4AD69C48-1A55-A744-96DC-6BD26E535E94}" type="datetimeFigureOut">
              <a:rPr lang="en-US" smtClean="0"/>
              <a:t>1/4/2018</a:t>
            </a:fld>
            <a:endParaRPr lang="en-US"/>
          </a:p>
        </p:txBody>
      </p: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>
          <a:xfrm>
            <a:off x="1436972" y="1979097"/>
            <a:ext cx="7084753" cy="243724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 algn="l">
              <a:lnSpc>
                <a:spcPct val="95000"/>
              </a:lnSpc>
              <a:defRPr sz="6996" b="1" i="0" cap="none" spc="-31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Click to add a title</a:t>
            </a:r>
          </a:p>
        </p:txBody>
      </p:sp>
      <p:pic>
        <p:nvPicPr>
          <p:cNvPr id="10" name="Picture 9" descr="profile logo copy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3211" y="527468"/>
            <a:ext cx="1812367" cy="519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675438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19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708170" y="2974957"/>
            <a:ext cx="10750260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6000" b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1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42623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Thr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0"/>
            <a:ext cx="12188821" cy="6857998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7824141" y="331846"/>
            <a:ext cx="39095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A" sz="1999" dirty="0">
                <a:solidFill>
                  <a:schemeClr val="bg1"/>
                </a:solidFill>
                <a:latin typeface="Avenir Next Medium"/>
              </a:rPr>
              <a:t>#</a:t>
            </a:r>
            <a:r>
              <a:rPr lang="en-CA" sz="1999" dirty="0">
                <a:solidFill>
                  <a:schemeClr val="bg1"/>
                </a:solidFill>
                <a:latin typeface="Avenir Next Regular"/>
              </a:rPr>
              <a:t>Intuit</a:t>
            </a:r>
            <a:r>
              <a:rPr lang="en-CA" sz="1999" dirty="0">
                <a:solidFill>
                  <a:schemeClr val="bg1"/>
                </a:solidFill>
                <a:latin typeface="Avenir Next Medium"/>
              </a:rPr>
              <a:t>THRIVE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04691" y="1087338"/>
            <a:ext cx="9835853" cy="2387600"/>
          </a:xfrm>
        </p:spPr>
        <p:txBody>
          <a:bodyPr anchor="b"/>
          <a:lstStyle>
            <a:lvl1pPr algn="l">
              <a:defRPr sz="47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CA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804691" y="3567014"/>
            <a:ext cx="9835853" cy="1655763"/>
          </a:xfrm>
        </p:spPr>
        <p:txBody>
          <a:bodyPr/>
          <a:lstStyle>
            <a:lvl1pPr marL="0" indent="0" algn="l">
              <a:buNone/>
              <a:defRPr sz="2399">
                <a:solidFill>
                  <a:schemeClr val="bg1"/>
                </a:solidFill>
              </a:defRPr>
            </a:lvl1pPr>
            <a:lvl2pPr marL="457064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90" indent="0" algn="ctr">
              <a:buNone/>
              <a:defRPr sz="1600"/>
            </a:lvl4pPr>
            <a:lvl5pPr marL="1828252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6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23777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2529584"/>
            <a:ext cx="12188824" cy="2587831"/>
          </a:xfrm>
          <a:prstGeom prst="rect">
            <a:avLst/>
          </a:prstGeom>
          <a:gradFill>
            <a:gsLst>
              <a:gs pos="0">
                <a:srgbClr val="FFFFFF">
                  <a:alpha val="10000"/>
                </a:srgbClr>
              </a:gs>
              <a:gs pos="100000">
                <a:srgbClr val="FFFFFF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178" name="Rectangle 77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1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1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647593" y="3226896"/>
            <a:ext cx="10742720" cy="681038"/>
          </a:xfrm>
          <a:prstGeom prst="rect">
            <a:avLst/>
          </a:prstGeom>
        </p:spPr>
        <p:txBody>
          <a:bodyPr anchor="b"/>
          <a:lstStyle>
            <a:lvl1pPr algn="l">
              <a:defRPr sz="42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46849" y="4086856"/>
            <a:ext cx="10743463" cy="388937"/>
          </a:xfrm>
          <a:prstGeom prst="rect">
            <a:avLst/>
          </a:prstGeom>
        </p:spPr>
        <p:txBody>
          <a:bodyPr tIns="0" bIns="0"/>
          <a:lstStyle>
            <a:lvl1pPr marL="0" indent="0">
              <a:buFont typeface="Times" pitchFamily="18" charset="0"/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44" y="0"/>
            <a:ext cx="3115581" cy="31712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607" r="29316" b="1"/>
          <a:stretch/>
        </p:blipFill>
        <p:spPr>
          <a:xfrm>
            <a:off x="9073244" y="0"/>
            <a:ext cx="3115581" cy="317120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61896" y="5134067"/>
            <a:ext cx="4365716" cy="547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2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523412" y="702469"/>
            <a:ext cx="2802894" cy="1235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26676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- Styl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1877291"/>
            <a:ext cx="12188825" cy="2587831"/>
          </a:xfrm>
          <a:prstGeom prst="rect">
            <a:avLst/>
          </a:prstGeom>
          <a:solidFill>
            <a:srgbClr val="FFFFFF">
              <a:alpha val="66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279773" y="2855650"/>
            <a:ext cx="11589728" cy="681038"/>
          </a:xfrm>
          <a:prstGeom prst="rect">
            <a:avLst/>
          </a:prstGeom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lang="en-US" sz="48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0" y="1877290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31000">
                  <a:srgbClr val="7F92C1"/>
                </a:gs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0" y="4465121"/>
            <a:ext cx="12188825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>
              <a:gsLst>
                <a:gs pos="72000">
                  <a:srgbClr val="7F92C1"/>
                </a:gs>
                <a:gs pos="100000">
                  <a:schemeClr val="accent1"/>
                </a:gs>
                <a:gs pos="0">
                  <a:schemeClr val="accent1">
                    <a:lumMod val="20000"/>
                    <a:lumOff val="80000"/>
                  </a:schemeClr>
                </a:gs>
              </a:gsLst>
              <a:lin ang="2700000" scaled="0"/>
            </a:gradFill>
            <a:prstDash val="solid"/>
            <a:round/>
            <a:headEnd type="none" w="sm" len="sm"/>
            <a:tailEnd type="none" w="sm" len="sm"/>
          </a:ln>
          <a:effectLst/>
        </p:spPr>
      </p:cxnSp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141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03213" y="990600"/>
            <a:ext cx="11582400" cy="5410200"/>
          </a:xfrm>
          <a:prstGeom prst="rect">
            <a:avLst/>
          </a:prstGeom>
        </p:spPr>
        <p:txBody>
          <a:bodyPr/>
          <a:lstStyle>
            <a:lvl1pPr marL="233363" indent="-233363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v"/>
              <a:defRPr sz="2600">
                <a:solidFill>
                  <a:schemeClr val="tx2"/>
                </a:solidFill>
              </a:defRPr>
            </a:lvl1pPr>
            <a:lvl2pPr marL="7429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2400">
                <a:solidFill>
                  <a:schemeClr val="tx2"/>
                </a:solidFill>
              </a:defRPr>
            </a:lvl2pPr>
            <a:lvl3pPr marL="1143000" indent="-2286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2000">
                <a:solidFill>
                  <a:schemeClr val="tx2"/>
                </a:solidFill>
              </a:defRPr>
            </a:lvl4pPr>
            <a:lvl5pPr marL="2057400" indent="-2286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7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686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6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29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4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7327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no logo - w/pg# &amp; confidential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37FC1EB-0E93-49BC-A789-875D1A7F4D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37812" y="6171784"/>
            <a:ext cx="1548420" cy="682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870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TL with lt gra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-1" y="156161"/>
            <a:ext cx="12188825" cy="679861"/>
          </a:xfrm>
          <a:prstGeom prst="rect">
            <a:avLst/>
          </a:prstGeom>
        </p:spPr>
        <p:txBody>
          <a:bodyPr/>
          <a:lstStyle>
            <a:lvl1pPr>
              <a:defRPr lang="en-US" sz="4000" b="0" dirty="0">
                <a:solidFill>
                  <a:srgbClr val="365EB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" y="1066800"/>
            <a:ext cx="12188825" cy="5127008"/>
          </a:xfrm>
          <a:prstGeom prst="rect">
            <a:avLst/>
          </a:prstGeom>
          <a:solidFill>
            <a:schemeClr val="bg1">
              <a:lumMod val="75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7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1986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5029200" cy="638269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This is a picture placeholder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775325" y="304800"/>
            <a:ext cx="6111875" cy="724277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775325" y="1279437"/>
            <a:ext cx="6111874" cy="5103256"/>
          </a:xfrm>
          <a:prstGeom prst="rect">
            <a:avLst/>
          </a:prstGeom>
        </p:spPr>
        <p:txBody>
          <a:bodyPr/>
          <a:lstStyle>
            <a:lvl1pPr marL="233363" indent="-233363">
              <a:spcAft>
                <a:spcPts val="1200"/>
              </a:spcAft>
              <a:buClr>
                <a:srgbClr val="365EBF"/>
              </a:buClr>
              <a:buFont typeface="Wingdings" panose="05000000000000000000" pitchFamily="2" charset="2"/>
              <a:buChar char="v"/>
              <a:defRPr sz="2400">
                <a:solidFill>
                  <a:schemeClr val="tx2"/>
                </a:solidFill>
              </a:defRPr>
            </a:lvl1pPr>
            <a:lvl2pPr marL="742950" indent="-28575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2000">
                <a:solidFill>
                  <a:schemeClr val="tx2"/>
                </a:solidFill>
              </a:defRPr>
            </a:lvl2pPr>
            <a:lvl3pPr marL="1143000" indent="-22860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1800">
                <a:solidFill>
                  <a:schemeClr val="tx2"/>
                </a:solidFill>
              </a:defRPr>
            </a:lvl3pPr>
            <a:lvl4pPr marL="1600200" indent="-22860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</a:defRPr>
            </a:lvl4pPr>
            <a:lvl5pPr marL="2057400" indent="-228600">
              <a:spcAft>
                <a:spcPts val="1200"/>
              </a:spcAft>
              <a:buClr>
                <a:schemeClr val="accent1"/>
              </a:buClr>
              <a:buFont typeface="Wingdings" panose="05000000000000000000" pitchFamily="2" charset="2"/>
              <a:buChar char="Ø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Box 54"/>
          <p:cNvSpPr txBox="1">
            <a:spLocks noChangeArrowheads="1"/>
          </p:cNvSpPr>
          <p:nvPr userDrawn="1"/>
        </p:nvSpPr>
        <p:spPr bwMode="gray">
          <a:xfrm>
            <a:off x="682563" y="6543675"/>
            <a:ext cx="1717137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en-US" sz="800" kern="0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Intuit Confidential and Proprietary</a:t>
            </a:r>
          </a:p>
        </p:txBody>
      </p:sp>
      <p:sp>
        <p:nvSpPr>
          <p:cNvPr id="19" name="Slide Number Placeholder 8"/>
          <p:cNvSpPr txBox="1">
            <a:spLocks/>
          </p:cNvSpPr>
          <p:nvPr userDrawn="1"/>
        </p:nvSpPr>
        <p:spPr bwMode="gray">
          <a:xfrm>
            <a:off x="189708" y="6543675"/>
            <a:ext cx="609441" cy="209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fontAlgn="base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lang="en-US" sz="800" kern="1200" smtClean="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E0D3632C-CC20-45BB-95E2-257CAA2A0A42}" type="slidenum">
              <a:rPr>
                <a:solidFill>
                  <a:prstClr val="white">
                    <a:lumMod val="50000"/>
                  </a:prstClr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‹#›</a:t>
            </a:fld>
            <a:endParaRPr dirty="0">
              <a:solidFill>
                <a:prstClr val="white">
                  <a:lumMod val="50000"/>
                </a:prst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5012" y="6396452"/>
            <a:ext cx="1143000" cy="50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0338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2869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02" r:id="rId2"/>
    <p:sldLayoutId id="2147483797" r:id="rId3"/>
    <p:sldLayoutId id="2147483795" r:id="rId4"/>
    <p:sldLayoutId id="2147483796" r:id="rId5"/>
    <p:sldLayoutId id="2147483798" r:id="rId6"/>
    <p:sldLayoutId id="2147483799" r:id="rId7"/>
    <p:sldLayoutId id="2147483800" r:id="rId8"/>
    <p:sldLayoutId id="2147483801" r:id="rId9"/>
    <p:sldLayoutId id="2147483803" r:id="rId10"/>
    <p:sldLayoutId id="214748381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diagramQuickStyle" Target="../diagrams/quickStyle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diagramLayout" Target="../diagrams/layou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11" Type="http://schemas.openxmlformats.org/officeDocument/2006/relationships/diagramData" Target="../diagrams/data3.xml"/><Relationship Id="rId5" Type="http://schemas.openxmlformats.org/officeDocument/2006/relationships/diagramQuickStyle" Target="../diagrams/quickStyle2.xml"/><Relationship Id="rId15" Type="http://schemas.microsoft.com/office/2007/relationships/diagramDrawing" Target="../diagrams/drawing3.xml"/><Relationship Id="rId10" Type="http://schemas.openxmlformats.org/officeDocument/2006/relationships/image" Target="../media/image8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7.png"/><Relationship Id="rId14" Type="http://schemas.openxmlformats.org/officeDocument/2006/relationships/diagramColors" Target="../diagrams/colors3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13" Type="http://schemas.openxmlformats.org/officeDocument/2006/relationships/diagramColors" Target="../diagrams/colors5.xml"/><Relationship Id="rId3" Type="http://schemas.openxmlformats.org/officeDocument/2006/relationships/image" Target="../media/image9.png"/><Relationship Id="rId7" Type="http://schemas.openxmlformats.org/officeDocument/2006/relationships/diagramColors" Target="../diagrams/colors4.xml"/><Relationship Id="rId12" Type="http://schemas.openxmlformats.org/officeDocument/2006/relationships/diagramQuickStyle" Target="../diagrams/quickStyle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4.xml"/><Relationship Id="rId11" Type="http://schemas.openxmlformats.org/officeDocument/2006/relationships/diagramLayout" Target="../diagrams/layout5.xml"/><Relationship Id="rId5" Type="http://schemas.openxmlformats.org/officeDocument/2006/relationships/diagramLayout" Target="../diagrams/layout4.xml"/><Relationship Id="rId10" Type="http://schemas.openxmlformats.org/officeDocument/2006/relationships/diagramData" Target="../diagrams/data5.xml"/><Relationship Id="rId4" Type="http://schemas.openxmlformats.org/officeDocument/2006/relationships/diagramData" Target="../diagrams/data4.xml"/><Relationship Id="rId9" Type="http://schemas.openxmlformats.org/officeDocument/2006/relationships/image" Target="../media/image10.png"/><Relationship Id="rId14" Type="http://schemas.microsoft.com/office/2007/relationships/diagramDrawing" Target="../diagrams/drawing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microsoft.com/office/2007/relationships/diagramDrawing" Target="../diagrams/drawing7.xml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12" Type="http://schemas.openxmlformats.org/officeDocument/2006/relationships/diagramColors" Target="../diagrams/colors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6.xml"/><Relationship Id="rId11" Type="http://schemas.openxmlformats.org/officeDocument/2006/relationships/diagramQuickStyle" Target="../diagrams/quickStyle7.xml"/><Relationship Id="rId5" Type="http://schemas.openxmlformats.org/officeDocument/2006/relationships/diagramQuickStyle" Target="../diagrams/quickStyle6.xml"/><Relationship Id="rId10" Type="http://schemas.openxmlformats.org/officeDocument/2006/relationships/diagramLayout" Target="../diagrams/layout7.xml"/><Relationship Id="rId4" Type="http://schemas.openxmlformats.org/officeDocument/2006/relationships/diagramLayout" Target="../diagrams/layout6.xml"/><Relationship Id="rId9" Type="http://schemas.openxmlformats.org/officeDocument/2006/relationships/diagramData" Target="../diagrams/data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diagramColors" Target="../diagrams/colors9.xml"/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12" Type="http://schemas.openxmlformats.org/officeDocument/2006/relationships/diagramQuickStyle" Target="../diagrams/quickStyle9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8.xml"/><Relationship Id="rId11" Type="http://schemas.openxmlformats.org/officeDocument/2006/relationships/diagramLayout" Target="../diagrams/layout9.xml"/><Relationship Id="rId5" Type="http://schemas.openxmlformats.org/officeDocument/2006/relationships/diagramQuickStyle" Target="../diagrams/quickStyle8.xml"/><Relationship Id="rId10" Type="http://schemas.openxmlformats.org/officeDocument/2006/relationships/diagramData" Target="../diagrams/data9.xml"/><Relationship Id="rId4" Type="http://schemas.openxmlformats.org/officeDocument/2006/relationships/diagramLayout" Target="../diagrams/layout8.xml"/><Relationship Id="rId9" Type="http://schemas.openxmlformats.org/officeDocument/2006/relationships/image" Target="../media/image13.png"/><Relationship Id="rId14" Type="http://schemas.microsoft.com/office/2007/relationships/diagramDrawing" Target="../diagrams/drawing9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13" Type="http://schemas.microsoft.com/office/2007/relationships/diagramDrawing" Target="../diagrams/drawing11.xml"/><Relationship Id="rId3" Type="http://schemas.openxmlformats.org/officeDocument/2006/relationships/image" Target="../media/image14.png"/><Relationship Id="rId7" Type="http://schemas.openxmlformats.org/officeDocument/2006/relationships/diagramColors" Target="../diagrams/colors10.xml"/><Relationship Id="rId12" Type="http://schemas.openxmlformats.org/officeDocument/2006/relationships/diagramColors" Target="../diagrams/colors1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0.xml"/><Relationship Id="rId11" Type="http://schemas.openxmlformats.org/officeDocument/2006/relationships/diagramQuickStyle" Target="../diagrams/quickStyle11.xml"/><Relationship Id="rId5" Type="http://schemas.openxmlformats.org/officeDocument/2006/relationships/diagramLayout" Target="../diagrams/layout10.xml"/><Relationship Id="rId10" Type="http://schemas.openxmlformats.org/officeDocument/2006/relationships/diagramLayout" Target="../diagrams/layout11.xml"/><Relationship Id="rId4" Type="http://schemas.openxmlformats.org/officeDocument/2006/relationships/diagramData" Target="../diagrams/data10.xml"/><Relationship Id="rId9" Type="http://schemas.openxmlformats.org/officeDocument/2006/relationships/diagramData" Target="../diagrams/data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3212" y="1752600"/>
            <a:ext cx="8610600" cy="3349542"/>
          </a:xfrm>
        </p:spPr>
        <p:txBody>
          <a:bodyPr/>
          <a:lstStyle/>
          <a:p>
            <a:r>
              <a:rPr lang="en-US" sz="5400" dirty="0"/>
              <a:t>Learning about Taxes with Intuit ProFile </a:t>
            </a:r>
            <a:br>
              <a:rPr lang="en-US" sz="5400" dirty="0"/>
            </a:br>
            <a:endParaRPr lang="en-CA" sz="5400" dirty="0"/>
          </a:p>
        </p:txBody>
      </p:sp>
    </p:spTree>
    <p:extLst>
      <p:ext uri="{BB962C8B-B14F-4D97-AF65-F5344CB8AC3E}">
        <p14:creationId xmlns:p14="http://schemas.microsoft.com/office/powerpoint/2010/main" val="127647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3212" y="1752600"/>
            <a:ext cx="8610600" cy="3349542"/>
          </a:xfrm>
        </p:spPr>
        <p:txBody>
          <a:bodyPr/>
          <a:lstStyle/>
          <a:p>
            <a:r>
              <a:rPr lang="en-US" sz="5400" dirty="0" smtClean="0"/>
              <a:t>Chapter 5</a:t>
            </a:r>
            <a:br>
              <a:rPr lang="en-US" sz="5400" dirty="0" smtClean="0"/>
            </a:br>
            <a:r>
              <a:rPr lang="en-US" sz="5400" dirty="0" smtClean="0"/>
              <a:t>Advanced T1 Work</a:t>
            </a:r>
            <a:endParaRPr lang="en-CA" sz="5400" dirty="0"/>
          </a:p>
        </p:txBody>
      </p:sp>
    </p:spTree>
    <p:extLst>
      <p:ext uri="{BB962C8B-B14F-4D97-AF65-F5344CB8AC3E}">
        <p14:creationId xmlns:p14="http://schemas.microsoft.com/office/powerpoint/2010/main" val="578964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29009A76-D8CF-4341-B58A-1D68BFAFA3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7986620"/>
              </p:ext>
            </p:extLst>
          </p:nvPr>
        </p:nvGraphicFramePr>
        <p:xfrm>
          <a:off x="379412" y="2362200"/>
          <a:ext cx="6019800" cy="37466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79355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-230188" y="4572000"/>
            <a:ext cx="6627812" cy="758825"/>
          </a:xfrm>
          <a:prstGeom prst="rect">
            <a:avLst/>
          </a:prstGeom>
        </p:spPr>
        <p:txBody>
          <a:bodyPr/>
          <a:lstStyle/>
          <a:p>
            <a:r>
              <a:rPr lang="en-CA" dirty="0" smtClean="0"/>
              <a:t>Advanced T1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64878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6184371"/>
            <a:ext cx="12188825" cy="731738"/>
          </a:xfrm>
        </p:spPr>
        <p:txBody>
          <a:bodyPr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47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CA" dirty="0"/>
              <a:t>a</a:t>
            </a:r>
            <a:r>
              <a:rPr lang="en-CA" dirty="0" smtClean="0"/>
              <a:t>dvanced t1</a:t>
            </a:r>
            <a:endParaRPr lang="en-CA" dirty="0"/>
          </a:p>
        </p:txBody>
      </p:sp>
      <p:graphicFrame>
        <p:nvGraphicFramePr>
          <p:cNvPr id="9" name="Diagram 8"/>
          <p:cNvGraphicFramePr/>
          <p:nvPr>
            <p:extLst/>
          </p:nvPr>
        </p:nvGraphicFramePr>
        <p:xfrm>
          <a:off x="5865812" y="1447800"/>
          <a:ext cx="5257800" cy="358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4559" y="375933"/>
            <a:ext cx="1922084" cy="84642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9412" y="685800"/>
            <a:ext cx="4307840" cy="33694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117" y="2645346"/>
            <a:ext cx="4776788" cy="2819707"/>
          </a:xfrm>
          <a:prstGeom prst="rect">
            <a:avLst/>
          </a:prstGeom>
        </p:spPr>
      </p:pic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585C350C-DE69-4AD1-943E-AABCDE50EA3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7085993"/>
              </p:ext>
            </p:extLst>
          </p:nvPr>
        </p:nvGraphicFramePr>
        <p:xfrm>
          <a:off x="455612" y="5348330"/>
          <a:ext cx="1224907" cy="1262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extLst>
      <p:ext uri="{BB962C8B-B14F-4D97-AF65-F5344CB8AC3E}">
        <p14:creationId xmlns:p14="http://schemas.microsoft.com/office/powerpoint/2010/main" val="14983559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012" y="1222356"/>
            <a:ext cx="6629400" cy="4003518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0" y="6167086"/>
            <a:ext cx="12188825" cy="731738"/>
          </a:xfrm>
        </p:spPr>
        <p:txBody>
          <a:bodyPr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47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CA" smtClean="0"/>
              <a:t>advanced </a:t>
            </a:r>
            <a:r>
              <a:rPr lang="en-CA" dirty="0" smtClean="0"/>
              <a:t>t1</a:t>
            </a:r>
            <a:endParaRPr lang="en-CA" dirty="0"/>
          </a:p>
        </p:txBody>
      </p:sp>
      <p:graphicFrame>
        <p:nvGraphicFramePr>
          <p:cNvPr id="9" name="Diagram 8"/>
          <p:cNvGraphicFramePr/>
          <p:nvPr>
            <p:extLst/>
          </p:nvPr>
        </p:nvGraphicFramePr>
        <p:xfrm>
          <a:off x="6475412" y="1561794"/>
          <a:ext cx="5257800" cy="358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9023" y="5085546"/>
            <a:ext cx="2418262" cy="959084"/>
          </a:xfrm>
          <a:prstGeom prst="rect">
            <a:avLst/>
          </a:prstGeom>
        </p:spPr>
      </p:pic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5E4905D2-0A45-4EA9-A039-65075C807B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7235170"/>
              </p:ext>
            </p:extLst>
          </p:nvPr>
        </p:nvGraphicFramePr>
        <p:xfrm>
          <a:off x="455612" y="5348330"/>
          <a:ext cx="1224907" cy="1262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  <p:extLst>
      <p:ext uri="{BB962C8B-B14F-4D97-AF65-F5344CB8AC3E}">
        <p14:creationId xmlns:p14="http://schemas.microsoft.com/office/powerpoint/2010/main" val="11041342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1112" y="6126262"/>
            <a:ext cx="12188825" cy="731738"/>
          </a:xfrm>
        </p:spPr>
        <p:txBody>
          <a:bodyPr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47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CA"/>
              <a:t>a</a:t>
            </a:r>
            <a:r>
              <a:rPr lang="en-CA" smtClean="0"/>
              <a:t>dvanced </a:t>
            </a:r>
            <a:r>
              <a:rPr lang="en-CA" dirty="0" smtClean="0"/>
              <a:t>t1</a:t>
            </a:r>
            <a:endParaRPr lang="en-CA" dirty="0"/>
          </a:p>
        </p:txBody>
      </p:sp>
      <p:graphicFrame>
        <p:nvGraphicFramePr>
          <p:cNvPr id="9" name="Diagram 8"/>
          <p:cNvGraphicFramePr/>
          <p:nvPr>
            <p:extLst/>
          </p:nvPr>
        </p:nvGraphicFramePr>
        <p:xfrm>
          <a:off x="5865812" y="1447800"/>
          <a:ext cx="5257800" cy="3581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212" y="1775839"/>
            <a:ext cx="6475412" cy="2925321"/>
          </a:xfrm>
          <a:prstGeom prst="rect">
            <a:avLst/>
          </a:prstGeom>
        </p:spPr>
      </p:pic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4D62DFE0-2A58-4B3A-8127-37DCA58BA6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52340302"/>
              </p:ext>
            </p:extLst>
          </p:nvPr>
        </p:nvGraphicFramePr>
        <p:xfrm>
          <a:off x="455612" y="5348330"/>
          <a:ext cx="1224907" cy="1262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915964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129037687"/>
              </p:ext>
            </p:extLst>
          </p:nvPr>
        </p:nvGraphicFramePr>
        <p:xfrm>
          <a:off x="6564312" y="1955800"/>
          <a:ext cx="3581400" cy="3962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339B5D1E-A387-462A-81BB-75EFB9E3B1EE}"/>
              </a:ext>
            </a:extLst>
          </p:cNvPr>
          <p:cNvSpPr txBox="1">
            <a:spLocks/>
          </p:cNvSpPr>
          <p:nvPr/>
        </p:nvSpPr>
        <p:spPr>
          <a:xfrm>
            <a:off x="227012" y="6045933"/>
            <a:ext cx="12038012" cy="800100"/>
          </a:xfrm>
        </p:spPr>
        <p:txBody>
          <a:bodyPr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47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CA" smtClean="0"/>
              <a:t>the </a:t>
            </a:r>
            <a:r>
              <a:rPr lang="en-CA" dirty="0" smtClean="0"/>
              <a:t>self-employed</a:t>
            </a:r>
            <a:endParaRPr lang="en-C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7012" y="1369823"/>
            <a:ext cx="3242012" cy="467611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75012" y="2971799"/>
            <a:ext cx="3738689" cy="3474183"/>
          </a:xfrm>
          <a:prstGeom prst="rect">
            <a:avLst/>
          </a:prstGeom>
        </p:spPr>
      </p:pic>
      <p:graphicFrame>
        <p:nvGraphicFramePr>
          <p:cNvPr id="9" name="Content Placeholder 2">
            <a:extLst>
              <a:ext uri="{FF2B5EF4-FFF2-40B4-BE49-F238E27FC236}">
                <a16:creationId xmlns:a16="http://schemas.microsoft.com/office/drawing/2014/main" id="{2C83258E-263B-452C-9487-3C6A9C5E68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2560879"/>
              </p:ext>
            </p:extLst>
          </p:nvPr>
        </p:nvGraphicFramePr>
        <p:xfrm>
          <a:off x="303212" y="5366132"/>
          <a:ext cx="1823044" cy="13431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  <p:extLst>
      <p:ext uri="{BB962C8B-B14F-4D97-AF65-F5344CB8AC3E}">
        <p14:creationId xmlns:p14="http://schemas.microsoft.com/office/powerpoint/2010/main" val="1241090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Snagit_SNG846">
            <a:extLst>
              <a:ext uri="{FF2B5EF4-FFF2-40B4-BE49-F238E27FC236}">
                <a16:creationId xmlns:a16="http://schemas.microsoft.com/office/drawing/2014/main" id="{80F36C5F-6507-4830-BEFB-C0A7B66643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12" y="2145044"/>
            <a:ext cx="5473081" cy="3448286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71905" y="6120427"/>
            <a:ext cx="12188825" cy="731738"/>
          </a:xfrm>
        </p:spPr>
        <p:txBody>
          <a:bodyPr anchor="b"/>
          <a:lstStyle>
            <a:lvl1pPr algn="l" defTabSz="914400" rtl="0" eaLnBrk="1" latinLnBrk="0" hangingPunct="1">
              <a:spcBef>
                <a:spcPct val="0"/>
              </a:spcBef>
              <a:buNone/>
              <a:defRPr sz="4799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CA" sz="4400" dirty="0" smtClean="0"/>
              <a:t>part-year residents</a:t>
            </a:r>
            <a:endParaRPr lang="en-CA" sz="4400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1993571254"/>
              </p:ext>
            </p:extLst>
          </p:nvPr>
        </p:nvGraphicFramePr>
        <p:xfrm>
          <a:off x="6774798" y="3105411"/>
          <a:ext cx="5288614" cy="2484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79EECFDE-9003-4CC7-9C8C-F329BE4A189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855108"/>
              </p:ext>
            </p:extLst>
          </p:nvPr>
        </p:nvGraphicFramePr>
        <p:xfrm>
          <a:off x="455612" y="5348330"/>
          <a:ext cx="1224907" cy="1262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16422045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White Template Blue Intuit Logo">
  <a:themeElements>
    <a:clrScheme name="Intuit Brand Colors 2014">
      <a:dk1>
        <a:sysClr val="windowText" lastClr="000000"/>
      </a:dk1>
      <a:lt1>
        <a:sysClr val="window" lastClr="FFFFFF"/>
      </a:lt1>
      <a:dk2>
        <a:srgbClr val="3F3F3F"/>
      </a:dk2>
      <a:lt2>
        <a:srgbClr val="2CA01C"/>
      </a:lt2>
      <a:accent1>
        <a:srgbClr val="365EBF"/>
      </a:accent1>
      <a:accent2>
        <a:srgbClr val="D52B1E"/>
      </a:accent2>
      <a:accent3>
        <a:srgbClr val="505050"/>
      </a:accent3>
      <a:accent4>
        <a:srgbClr val="0098CD"/>
      </a:accent4>
      <a:accent5>
        <a:srgbClr val="E77700"/>
      </a:accent5>
      <a:accent6>
        <a:srgbClr val="FEC82A"/>
      </a:accent6>
      <a:hlink>
        <a:srgbClr val="365EBF"/>
      </a:hlink>
      <a:folHlink>
        <a:srgbClr val="193048"/>
      </a:folHlink>
    </a:clrScheme>
    <a:fontScheme name="Intuit Standard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1 Intuit Template - White Background - Widescreen [Read-Only]" id="{F225971D-B64B-41D1-A728-2636CCD64A25}" vid="{97301D22-312C-4BB4-A39D-16453ABE494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1 Intuit Template - White Background - Widescreen July 2014</Template>
  <TotalTime>37400</TotalTime>
  <Words>203</Words>
  <Application>Microsoft Office PowerPoint</Application>
  <PresentationFormat>Custom</PresentationFormat>
  <Paragraphs>86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Avenir Next Demi Bold</vt:lpstr>
      <vt:lpstr>Avenir Next Medium</vt:lpstr>
      <vt:lpstr>Avenir Next Regular</vt:lpstr>
      <vt:lpstr>Calibri</vt:lpstr>
      <vt:lpstr>Mangal</vt:lpstr>
      <vt:lpstr>Times</vt:lpstr>
      <vt:lpstr>Wingdings</vt:lpstr>
      <vt:lpstr>1_White Template Blue Intuit Logo</vt:lpstr>
      <vt:lpstr>think-cell Slide</vt:lpstr>
      <vt:lpstr>Learning about Taxes with Intuit ProFile  </vt:lpstr>
      <vt:lpstr>Chapter 5 Advanced T1 Work</vt:lpstr>
      <vt:lpstr>PowerPoint Presentation</vt:lpstr>
      <vt:lpstr>Advanced T1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M Offer Template</dc:title>
  <dc:creator>Magner, Barb</dc:creator>
  <cp:lastModifiedBy>Videc, Marisa</cp:lastModifiedBy>
  <cp:revision>612</cp:revision>
  <cp:lastPrinted>2017-01-10T23:11:41Z</cp:lastPrinted>
  <dcterms:created xsi:type="dcterms:W3CDTF">2014-09-11T15:23:46Z</dcterms:created>
  <dcterms:modified xsi:type="dcterms:W3CDTF">2018-01-04T18:00:45Z</dcterms:modified>
</cp:coreProperties>
</file>